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9.xml" ContentType="application/vnd.openxmlformats-officedocument.theme+xml"/>
  <Override PartName="/ppt/tags/tag20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0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1.xml" ContentType="application/vnd.openxmlformats-officedocument.theme+xml"/>
  <Override PartName="/ppt/tags/tag21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2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13.xml" ContentType="application/vnd.openxmlformats-officedocument.theme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1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  <p:sldMasterId id="2147483760" r:id="rId6"/>
    <p:sldMasterId id="2147483781" r:id="rId7"/>
    <p:sldMasterId id="2147483834" r:id="rId8"/>
    <p:sldMasterId id="2147483858" r:id="rId9"/>
    <p:sldMasterId id="2147483879" r:id="rId10"/>
    <p:sldMasterId id="2147483912" r:id="rId11"/>
    <p:sldMasterId id="2147483936" r:id="rId12"/>
    <p:sldMasterId id="2147483957" r:id="rId13"/>
    <p:sldMasterId id="2147483965" r:id="rId14"/>
    <p:sldMasterId id="2147483990" r:id="rId15"/>
    <p:sldMasterId id="2147484014" r:id="rId16"/>
    <p:sldMasterId id="2147484037" r:id="rId17"/>
  </p:sldMasterIdLst>
  <p:notesMasterIdLst>
    <p:notesMasterId r:id="rId46"/>
  </p:notesMasterIdLst>
  <p:handoutMasterIdLst>
    <p:handoutMasterId r:id="rId47"/>
  </p:handoutMasterIdLst>
  <p:sldIdLst>
    <p:sldId id="600" r:id="rId18"/>
    <p:sldId id="578" r:id="rId19"/>
    <p:sldId id="586" r:id="rId20"/>
    <p:sldId id="588" r:id="rId21"/>
    <p:sldId id="549" r:id="rId22"/>
    <p:sldId id="550" r:id="rId23"/>
    <p:sldId id="551" r:id="rId24"/>
    <p:sldId id="595" r:id="rId25"/>
    <p:sldId id="589" r:id="rId26"/>
    <p:sldId id="553" r:id="rId27"/>
    <p:sldId id="554" r:id="rId28"/>
    <p:sldId id="555" r:id="rId29"/>
    <p:sldId id="596" r:id="rId30"/>
    <p:sldId id="556" r:id="rId31"/>
    <p:sldId id="557" r:id="rId32"/>
    <p:sldId id="558" r:id="rId33"/>
    <p:sldId id="559" r:id="rId34"/>
    <p:sldId id="590" r:id="rId35"/>
    <p:sldId id="561" r:id="rId36"/>
    <p:sldId id="591" r:id="rId37"/>
    <p:sldId id="592" r:id="rId38"/>
    <p:sldId id="593" r:id="rId39"/>
    <p:sldId id="597" r:id="rId40"/>
    <p:sldId id="594" r:id="rId41"/>
    <p:sldId id="566" r:id="rId42"/>
    <p:sldId id="598" r:id="rId43"/>
    <p:sldId id="575" r:id="rId44"/>
    <p:sldId id="599" r:id="rId45"/>
  </p:sldIdLst>
  <p:sldSz cx="12192000" cy="6858000"/>
  <p:notesSz cx="7010400" cy="92964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hy Yeh" initials="CY" lastIdx="1" clrIdx="0">
    <p:extLst>
      <p:ext uri="{19B8F6BF-5375-455C-9EA6-DF929625EA0E}">
        <p15:presenceInfo xmlns:p15="http://schemas.microsoft.com/office/powerpoint/2012/main" userId="f49433095a22b5a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B4B7EA"/>
    <a:srgbClr val="FDEADA"/>
    <a:srgbClr val="E7D2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8" autoAdjust="0"/>
    <p:restoredTop sz="90132" autoAdjust="0"/>
  </p:normalViewPr>
  <p:slideViewPr>
    <p:cSldViewPr>
      <p:cViewPr varScale="1">
        <p:scale>
          <a:sx n="80" d="100"/>
          <a:sy n="80" d="100"/>
        </p:scale>
        <p:origin x="867" y="5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BDA799-569C-4918-ADD4-BE0316FEB3E5}" type="doc">
      <dgm:prSet loTypeId="urn:microsoft.com/office/officeart/2005/8/layout/lProcess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92475D8-0042-48D0-BC40-787E89C4C3F0}">
      <dgm:prSet phldrT="[Text]"/>
      <dgm:spPr/>
      <dgm:t>
        <a:bodyPr/>
        <a:lstStyle/>
        <a:p>
          <a:r>
            <a:rPr lang="en-US" dirty="0"/>
            <a:t>Enterprise Agreement</a:t>
          </a:r>
        </a:p>
      </dgm:t>
    </dgm:pt>
    <dgm:pt modelId="{16500910-ABDE-4AB1-A84F-2AF0A17368DD}" type="parTrans" cxnId="{51C8FB7C-AFC5-4759-989C-1D62240762B0}">
      <dgm:prSet/>
      <dgm:spPr/>
      <dgm:t>
        <a:bodyPr/>
        <a:lstStyle/>
        <a:p>
          <a:endParaRPr lang="en-US"/>
        </a:p>
      </dgm:t>
    </dgm:pt>
    <dgm:pt modelId="{88A515CB-CA10-4D54-8638-C973F26C3C49}" type="sibTrans" cxnId="{51C8FB7C-AFC5-4759-989C-1D62240762B0}">
      <dgm:prSet/>
      <dgm:spPr/>
      <dgm:t>
        <a:bodyPr/>
        <a:lstStyle/>
        <a:p>
          <a:endParaRPr lang="en-US"/>
        </a:p>
      </dgm:t>
    </dgm:pt>
    <dgm:pt modelId="{D4BCE9D2-AF2A-4F94-B259-D25203C461E6}">
      <dgm:prSet phldrT="[Text]"/>
      <dgm:spPr/>
      <dgm:t>
        <a:bodyPr/>
        <a:lstStyle/>
        <a:p>
          <a:r>
            <a:rPr lang="en-US" dirty="0"/>
            <a:t>Available since Sep 27, 2015</a:t>
          </a:r>
        </a:p>
      </dgm:t>
    </dgm:pt>
    <dgm:pt modelId="{A019F0E3-2013-4A2E-A3E5-8B9251EF4FF1}" type="parTrans" cxnId="{49353AFB-209A-472E-81C1-F08E3E89941F}">
      <dgm:prSet/>
      <dgm:spPr/>
      <dgm:t>
        <a:bodyPr/>
        <a:lstStyle/>
        <a:p>
          <a:endParaRPr lang="en-US"/>
        </a:p>
      </dgm:t>
    </dgm:pt>
    <dgm:pt modelId="{7CC78C51-E4A2-4FA5-A968-559481174273}" type="sibTrans" cxnId="{49353AFB-209A-472E-81C1-F08E3E89941F}">
      <dgm:prSet/>
      <dgm:spPr/>
      <dgm:t>
        <a:bodyPr/>
        <a:lstStyle/>
        <a:p>
          <a:endParaRPr lang="en-US"/>
        </a:p>
      </dgm:t>
    </dgm:pt>
    <dgm:pt modelId="{3031B816-0798-4ABD-86BF-72322DE12692}">
      <dgm:prSet phldrT="[Text]"/>
      <dgm:spPr/>
      <dgm:t>
        <a:bodyPr/>
        <a:lstStyle/>
        <a:p>
          <a:r>
            <a:rPr lang="en-US" dirty="0"/>
            <a:t>Volume Licensing contract thru LSP</a:t>
          </a:r>
        </a:p>
      </dgm:t>
    </dgm:pt>
    <dgm:pt modelId="{10ABEFA2-742D-40D9-AD2D-74F398BBA4AB}" type="parTrans" cxnId="{C61F5EBB-3D3D-4C60-8BA5-5BE562997EB5}">
      <dgm:prSet/>
      <dgm:spPr/>
      <dgm:t>
        <a:bodyPr/>
        <a:lstStyle/>
        <a:p>
          <a:endParaRPr lang="en-US"/>
        </a:p>
      </dgm:t>
    </dgm:pt>
    <dgm:pt modelId="{016B57C4-340F-497C-A9F7-44F2EDE22FD7}" type="sibTrans" cxnId="{C61F5EBB-3D3D-4C60-8BA5-5BE562997EB5}">
      <dgm:prSet/>
      <dgm:spPr/>
      <dgm:t>
        <a:bodyPr/>
        <a:lstStyle/>
        <a:p>
          <a:endParaRPr lang="en-US"/>
        </a:p>
      </dgm:t>
    </dgm:pt>
    <dgm:pt modelId="{0B37BE90-653D-4C32-A6CD-A02DF9BAD4E2}">
      <dgm:prSet phldrT="[Text]"/>
      <dgm:spPr/>
      <dgm:t>
        <a:bodyPr/>
        <a:lstStyle/>
        <a:p>
          <a:r>
            <a:rPr lang="en-US" dirty="0"/>
            <a:t>Web Direct</a:t>
          </a:r>
        </a:p>
      </dgm:t>
    </dgm:pt>
    <dgm:pt modelId="{2F3B63AC-A6A9-44B5-A6E9-06CD150081E2}" type="parTrans" cxnId="{361F21B6-CCAD-4688-BB65-B3671C699233}">
      <dgm:prSet/>
      <dgm:spPr/>
      <dgm:t>
        <a:bodyPr/>
        <a:lstStyle/>
        <a:p>
          <a:endParaRPr lang="en-US"/>
        </a:p>
      </dgm:t>
    </dgm:pt>
    <dgm:pt modelId="{80F8102F-2AFF-444F-834B-36AB08F879A2}" type="sibTrans" cxnId="{361F21B6-CCAD-4688-BB65-B3671C699233}">
      <dgm:prSet/>
      <dgm:spPr/>
      <dgm:t>
        <a:bodyPr/>
        <a:lstStyle/>
        <a:p>
          <a:endParaRPr lang="en-US"/>
        </a:p>
      </dgm:t>
    </dgm:pt>
    <dgm:pt modelId="{9B6A2B3A-BC01-42D3-A547-43B8A94A890E}">
      <dgm:prSet phldrT="[Text]"/>
      <dgm:spPr/>
      <dgm:t>
        <a:bodyPr/>
        <a:lstStyle/>
        <a:p>
          <a:r>
            <a:rPr lang="en-US" dirty="0"/>
            <a:t>Available - 15</a:t>
          </a:r>
          <a:r>
            <a:rPr lang="en-US" baseline="30000" dirty="0"/>
            <a:t>th</a:t>
          </a:r>
          <a:r>
            <a:rPr lang="en-US" dirty="0"/>
            <a:t> Sept 2016</a:t>
          </a:r>
        </a:p>
      </dgm:t>
    </dgm:pt>
    <dgm:pt modelId="{A2F58999-6AA8-4CAF-95C2-E1BE4AA27FC8}" type="parTrans" cxnId="{C9918B26-A65B-4F5F-9E41-01E8C5991A52}">
      <dgm:prSet/>
      <dgm:spPr/>
      <dgm:t>
        <a:bodyPr/>
        <a:lstStyle/>
        <a:p>
          <a:endParaRPr lang="en-US"/>
        </a:p>
      </dgm:t>
    </dgm:pt>
    <dgm:pt modelId="{EE3F83FC-9BC9-478B-8663-C53D2EE87C45}" type="sibTrans" cxnId="{C9918B26-A65B-4F5F-9E41-01E8C5991A52}">
      <dgm:prSet/>
      <dgm:spPr/>
      <dgm:t>
        <a:bodyPr/>
        <a:lstStyle/>
        <a:p>
          <a:endParaRPr lang="en-US"/>
        </a:p>
      </dgm:t>
    </dgm:pt>
    <dgm:pt modelId="{E38A52F6-CA00-4BCB-AE5B-00DE763387EF}">
      <dgm:prSet phldrT="[Text]"/>
      <dgm:spPr/>
      <dgm:t>
        <a:bodyPr/>
        <a:lstStyle/>
        <a:p>
          <a:r>
            <a:rPr lang="en-US" dirty="0"/>
            <a:t>Open</a:t>
          </a:r>
        </a:p>
      </dgm:t>
    </dgm:pt>
    <dgm:pt modelId="{1D68D73C-49A9-4278-AE6E-BC8F1557985D}" type="parTrans" cxnId="{A0F9499F-5665-4C41-822B-38664716A183}">
      <dgm:prSet/>
      <dgm:spPr/>
      <dgm:t>
        <a:bodyPr/>
        <a:lstStyle/>
        <a:p>
          <a:endParaRPr lang="en-US"/>
        </a:p>
      </dgm:t>
    </dgm:pt>
    <dgm:pt modelId="{8997F944-764B-47A4-ACC4-55A199CEF74E}" type="sibTrans" cxnId="{A0F9499F-5665-4C41-822B-38664716A183}">
      <dgm:prSet/>
      <dgm:spPr/>
      <dgm:t>
        <a:bodyPr/>
        <a:lstStyle/>
        <a:p>
          <a:endParaRPr lang="en-US"/>
        </a:p>
      </dgm:t>
    </dgm:pt>
    <dgm:pt modelId="{A9C3B8B2-F3C4-4C0B-AD1A-BC56296279E8}">
      <dgm:prSet phldrT="[Text]"/>
      <dgm:spPr/>
      <dgm:t>
        <a:bodyPr/>
        <a:lstStyle/>
        <a:p>
          <a:r>
            <a:rPr lang="en-US" dirty="0"/>
            <a:t>Available - 15</a:t>
          </a:r>
          <a:r>
            <a:rPr lang="en-US" baseline="30000" dirty="0"/>
            <a:t>th</a:t>
          </a:r>
          <a:r>
            <a:rPr lang="en-US" dirty="0"/>
            <a:t> Sept 2016</a:t>
          </a:r>
        </a:p>
      </dgm:t>
    </dgm:pt>
    <dgm:pt modelId="{0428976C-3726-4D86-9373-B54F45993705}" type="parTrans" cxnId="{3260ED14-21C6-492C-9C4D-596EDD657E41}">
      <dgm:prSet/>
      <dgm:spPr/>
      <dgm:t>
        <a:bodyPr/>
        <a:lstStyle/>
        <a:p>
          <a:endParaRPr lang="en-US"/>
        </a:p>
      </dgm:t>
    </dgm:pt>
    <dgm:pt modelId="{5F88308B-8676-4AD2-9F5C-06C3A51DD39C}" type="sibTrans" cxnId="{3260ED14-21C6-492C-9C4D-596EDD657E41}">
      <dgm:prSet/>
      <dgm:spPr/>
      <dgm:t>
        <a:bodyPr/>
        <a:lstStyle/>
        <a:p>
          <a:endParaRPr lang="en-US"/>
        </a:p>
      </dgm:t>
    </dgm:pt>
    <dgm:pt modelId="{E3682C10-7850-4048-A09F-11F6F3FE59EC}">
      <dgm:prSet phldrT="[Text]"/>
      <dgm:spPr/>
      <dgm:t>
        <a:bodyPr/>
        <a:lstStyle/>
        <a:p>
          <a:r>
            <a:rPr lang="en-US" dirty="0"/>
            <a:t>CSP</a:t>
          </a:r>
        </a:p>
      </dgm:t>
    </dgm:pt>
    <dgm:pt modelId="{BD2CAC44-EEA3-4FAB-9040-8F29F4E2C006}" type="parTrans" cxnId="{7F268C7E-1B2F-4EAB-AE4D-389514AC529F}">
      <dgm:prSet/>
      <dgm:spPr/>
      <dgm:t>
        <a:bodyPr/>
        <a:lstStyle/>
        <a:p>
          <a:endParaRPr lang="en-US"/>
        </a:p>
      </dgm:t>
    </dgm:pt>
    <dgm:pt modelId="{F7039017-598B-4531-8BE2-3E8BAD997FC6}" type="sibTrans" cxnId="{7F268C7E-1B2F-4EAB-AE4D-389514AC529F}">
      <dgm:prSet/>
      <dgm:spPr/>
      <dgm:t>
        <a:bodyPr/>
        <a:lstStyle/>
        <a:p>
          <a:endParaRPr lang="en-US"/>
        </a:p>
      </dgm:t>
    </dgm:pt>
    <dgm:pt modelId="{6D45F918-68D1-4AD1-9F66-AF9587B830D3}">
      <dgm:prSet phldrT="[Text]"/>
      <dgm:spPr/>
      <dgm:t>
        <a:bodyPr/>
        <a:lstStyle/>
        <a:p>
          <a:r>
            <a:rPr lang="en-US" dirty="0"/>
            <a:t>Available - 15</a:t>
          </a:r>
          <a:r>
            <a:rPr lang="en-US" baseline="30000" dirty="0"/>
            <a:t>th</a:t>
          </a:r>
          <a:r>
            <a:rPr lang="en-US" dirty="0"/>
            <a:t> Sept 2016</a:t>
          </a:r>
        </a:p>
      </dgm:t>
    </dgm:pt>
    <dgm:pt modelId="{11CCA21A-B283-44EA-8ACF-B1DF95BE7F5C}" type="parTrans" cxnId="{93F0FE3B-60CB-4022-BBD4-E81CCE715C55}">
      <dgm:prSet/>
      <dgm:spPr/>
      <dgm:t>
        <a:bodyPr/>
        <a:lstStyle/>
        <a:p>
          <a:endParaRPr lang="en-US"/>
        </a:p>
      </dgm:t>
    </dgm:pt>
    <dgm:pt modelId="{A5CB1D62-C013-4624-83BD-1AB94FC250B5}" type="sibTrans" cxnId="{93F0FE3B-60CB-4022-BBD4-E81CCE715C55}">
      <dgm:prSet/>
      <dgm:spPr/>
      <dgm:t>
        <a:bodyPr/>
        <a:lstStyle/>
        <a:p>
          <a:endParaRPr lang="en-US"/>
        </a:p>
      </dgm:t>
    </dgm:pt>
    <dgm:pt modelId="{38F07DEE-9E2C-449B-9BFB-2AC2BC19744B}">
      <dgm:prSet phldrT="[Text]"/>
      <dgm:spPr/>
      <dgm:t>
        <a:bodyPr/>
        <a:lstStyle/>
        <a:p>
          <a:r>
            <a:rPr lang="en-US" dirty="0"/>
            <a:t>Allows flexible contracting for complex deals</a:t>
          </a:r>
        </a:p>
      </dgm:t>
    </dgm:pt>
    <dgm:pt modelId="{E2F409FC-92B6-4595-A9DF-7DAD8D421ABA}" type="parTrans" cxnId="{FC7D18C8-D1DB-4479-AF14-C17714A41259}">
      <dgm:prSet/>
      <dgm:spPr/>
      <dgm:t>
        <a:bodyPr/>
        <a:lstStyle/>
        <a:p>
          <a:endParaRPr lang="en-US"/>
        </a:p>
      </dgm:t>
    </dgm:pt>
    <dgm:pt modelId="{D6753CA4-2C32-4418-9011-98B78A1B4B2F}" type="sibTrans" cxnId="{FC7D18C8-D1DB-4479-AF14-C17714A41259}">
      <dgm:prSet/>
      <dgm:spPr/>
      <dgm:t>
        <a:bodyPr/>
        <a:lstStyle/>
        <a:p>
          <a:endParaRPr lang="en-US"/>
        </a:p>
      </dgm:t>
    </dgm:pt>
    <dgm:pt modelId="{F3D4A900-EEA9-43D7-818C-C66EE4D39987}">
      <dgm:prSet/>
      <dgm:spPr/>
      <dgm:t>
        <a:bodyPr/>
        <a:lstStyle/>
        <a:p>
          <a:r>
            <a:rPr lang="en-US" dirty="0"/>
            <a:t>- Additional promos available on Monitory Commitment </a:t>
          </a:r>
        </a:p>
        <a:p>
          <a:r>
            <a:rPr lang="en-US" dirty="0"/>
            <a:t>- Option to lock prices for 3 Years</a:t>
          </a:r>
        </a:p>
      </dgm:t>
    </dgm:pt>
    <dgm:pt modelId="{08C48DCB-4EE4-45AA-8A14-E004092358D3}" type="sibTrans" cxnId="{9677FD4B-E1F7-44C3-BB7D-DC576505B3A5}">
      <dgm:prSet/>
      <dgm:spPr/>
      <dgm:t>
        <a:bodyPr/>
        <a:lstStyle/>
        <a:p>
          <a:endParaRPr lang="en-US"/>
        </a:p>
      </dgm:t>
    </dgm:pt>
    <dgm:pt modelId="{7EBA77F8-D525-4A76-ACBE-C381CC64CAFF}" type="parTrans" cxnId="{9677FD4B-E1F7-44C3-BB7D-DC576505B3A5}">
      <dgm:prSet/>
      <dgm:spPr/>
      <dgm:t>
        <a:bodyPr/>
        <a:lstStyle/>
        <a:p>
          <a:endParaRPr lang="en-US"/>
        </a:p>
      </dgm:t>
    </dgm:pt>
    <dgm:pt modelId="{5FE1688A-D2A0-4424-B2F8-369E744F6A08}">
      <dgm:prSet phldrT="[Text]"/>
      <dgm:spPr/>
      <dgm:t>
        <a:bodyPr/>
        <a:lstStyle/>
        <a:p>
          <a:r>
            <a:rPr lang="en-US" dirty="0"/>
            <a:t>Online subscription using credit card</a:t>
          </a:r>
        </a:p>
      </dgm:t>
    </dgm:pt>
    <dgm:pt modelId="{7EA76E3E-F8BC-473D-8058-8EBDD0968229}" type="parTrans" cxnId="{1C04CFF6-57BF-41C8-9588-C5CC61627ABA}">
      <dgm:prSet/>
      <dgm:spPr/>
      <dgm:t>
        <a:bodyPr/>
        <a:lstStyle/>
        <a:p>
          <a:endParaRPr lang="en-US"/>
        </a:p>
      </dgm:t>
    </dgm:pt>
    <dgm:pt modelId="{53CF81BA-E831-4E52-A37A-103D98845DD6}" type="sibTrans" cxnId="{1C04CFF6-57BF-41C8-9588-C5CC61627ABA}">
      <dgm:prSet/>
      <dgm:spPr/>
      <dgm:t>
        <a:bodyPr/>
        <a:lstStyle/>
        <a:p>
          <a:endParaRPr lang="en-US"/>
        </a:p>
      </dgm:t>
    </dgm:pt>
    <dgm:pt modelId="{BAAD352C-8E89-4B3E-A2BE-AA34CC441F4D}">
      <dgm:prSet phldrT="[Text]"/>
      <dgm:spPr/>
      <dgm:t>
        <a:bodyPr/>
        <a:lstStyle/>
        <a:p>
          <a:r>
            <a:rPr lang="en-US" dirty="0"/>
            <a:t>Start your cloud journey immediately with minimum online subscription</a:t>
          </a:r>
        </a:p>
      </dgm:t>
    </dgm:pt>
    <dgm:pt modelId="{18E217D4-938F-4349-A9C6-C63521F045B6}" type="parTrans" cxnId="{5E4E1F8C-F35D-49B3-ABC9-F429C89ACDE8}">
      <dgm:prSet/>
      <dgm:spPr/>
      <dgm:t>
        <a:bodyPr/>
        <a:lstStyle/>
        <a:p>
          <a:endParaRPr lang="en-US"/>
        </a:p>
      </dgm:t>
    </dgm:pt>
    <dgm:pt modelId="{A79238C3-6F28-4D9C-8019-6BB36B747EC1}" type="sibTrans" cxnId="{5E4E1F8C-F35D-49B3-ABC9-F429C89ACDE8}">
      <dgm:prSet/>
      <dgm:spPr/>
      <dgm:t>
        <a:bodyPr/>
        <a:lstStyle/>
        <a:p>
          <a:endParaRPr lang="en-US"/>
        </a:p>
      </dgm:t>
    </dgm:pt>
    <dgm:pt modelId="{7AC49A1D-ACB1-4803-A7FB-174B944E2985}">
      <dgm:prSet/>
      <dgm:spPr/>
      <dgm:t>
        <a:bodyPr/>
        <a:lstStyle/>
        <a:p>
          <a:r>
            <a:rPr lang="en-US" dirty="0"/>
            <a:t>- Transparent Online Pricing</a:t>
          </a:r>
        </a:p>
      </dgm:t>
    </dgm:pt>
    <dgm:pt modelId="{DAD7E13D-E131-4E76-B784-EB19D643ECB1}" type="parTrans" cxnId="{6E56D89E-9236-4459-9115-B4EABA2B0E4D}">
      <dgm:prSet/>
      <dgm:spPr/>
      <dgm:t>
        <a:bodyPr/>
        <a:lstStyle/>
        <a:p>
          <a:endParaRPr lang="en-US"/>
        </a:p>
      </dgm:t>
    </dgm:pt>
    <dgm:pt modelId="{343E2126-426C-4AF9-89C8-756A67A87C6A}" type="sibTrans" cxnId="{6E56D89E-9236-4459-9115-B4EABA2B0E4D}">
      <dgm:prSet/>
      <dgm:spPr/>
      <dgm:t>
        <a:bodyPr/>
        <a:lstStyle/>
        <a:p>
          <a:endParaRPr lang="en-US"/>
        </a:p>
      </dgm:t>
    </dgm:pt>
    <dgm:pt modelId="{0D344B29-D1F9-4911-AD35-2C343DF0F589}">
      <dgm:prSet phldrT="[Text]"/>
      <dgm:spPr/>
      <dgm:t>
        <a:bodyPr/>
        <a:lstStyle/>
        <a:p>
          <a:r>
            <a:rPr lang="en-US" dirty="0"/>
            <a:t>Coupon purchase from partner with/without Credit Card option</a:t>
          </a:r>
        </a:p>
      </dgm:t>
    </dgm:pt>
    <dgm:pt modelId="{7A786C9D-6B65-4421-9A4D-9CC742C83D7D}" type="parTrans" cxnId="{DFFDE93E-30AC-478E-BDAD-9B138B0DFFE9}">
      <dgm:prSet/>
      <dgm:spPr/>
      <dgm:t>
        <a:bodyPr/>
        <a:lstStyle/>
        <a:p>
          <a:endParaRPr lang="en-US"/>
        </a:p>
      </dgm:t>
    </dgm:pt>
    <dgm:pt modelId="{0FC3DF36-5A04-49C6-B36D-E350D421DC35}" type="sibTrans" cxnId="{DFFDE93E-30AC-478E-BDAD-9B138B0DFFE9}">
      <dgm:prSet/>
      <dgm:spPr/>
      <dgm:t>
        <a:bodyPr/>
        <a:lstStyle/>
        <a:p>
          <a:endParaRPr lang="en-US"/>
        </a:p>
      </dgm:t>
    </dgm:pt>
    <dgm:pt modelId="{4182C4BD-5B79-4DB2-89B7-518DBF521D22}">
      <dgm:prSet phldrT="[Text]"/>
      <dgm:spPr/>
      <dgm:t>
        <a:bodyPr/>
        <a:lstStyle/>
        <a:p>
          <a:r>
            <a:rPr lang="en-US" dirty="0"/>
            <a:t>Transparent Online pricing</a:t>
          </a:r>
        </a:p>
      </dgm:t>
    </dgm:pt>
    <dgm:pt modelId="{0BA9EF01-F58E-48C0-A45A-E59E432F8409}" type="parTrans" cxnId="{3EB26727-EBF0-4346-98D3-1D488886E74B}">
      <dgm:prSet/>
      <dgm:spPr/>
      <dgm:t>
        <a:bodyPr/>
        <a:lstStyle/>
        <a:p>
          <a:endParaRPr lang="en-US"/>
        </a:p>
      </dgm:t>
    </dgm:pt>
    <dgm:pt modelId="{735A77EB-75F8-4E34-8F2E-18564E8A3ADC}" type="sibTrans" cxnId="{3EB26727-EBF0-4346-98D3-1D488886E74B}">
      <dgm:prSet/>
      <dgm:spPr/>
      <dgm:t>
        <a:bodyPr/>
        <a:lstStyle/>
        <a:p>
          <a:endParaRPr lang="en-US"/>
        </a:p>
      </dgm:t>
    </dgm:pt>
    <dgm:pt modelId="{60ACDB2B-B07E-462E-8E81-B5B8F8532C91}">
      <dgm:prSet phldrT="[Text]"/>
      <dgm:spPr/>
      <dgm:t>
        <a:bodyPr/>
        <a:lstStyle/>
        <a:p>
          <a:r>
            <a:rPr lang="en-US" dirty="0"/>
            <a:t>Through Cloud Solution Provider Partner</a:t>
          </a:r>
        </a:p>
      </dgm:t>
    </dgm:pt>
    <dgm:pt modelId="{33FFE7FF-8D69-4FAE-9704-ED62E7B6A57F}" type="parTrans" cxnId="{F0D66239-8FCB-4F84-A7FD-3BB22279044F}">
      <dgm:prSet/>
      <dgm:spPr/>
      <dgm:t>
        <a:bodyPr/>
        <a:lstStyle/>
        <a:p>
          <a:endParaRPr lang="en-US"/>
        </a:p>
      </dgm:t>
    </dgm:pt>
    <dgm:pt modelId="{E78AD06F-3A7F-41C3-9EBD-5650DB4B9828}" type="sibTrans" cxnId="{F0D66239-8FCB-4F84-A7FD-3BB22279044F}">
      <dgm:prSet/>
      <dgm:spPr/>
      <dgm:t>
        <a:bodyPr/>
        <a:lstStyle/>
        <a:p>
          <a:endParaRPr lang="en-US"/>
        </a:p>
      </dgm:t>
    </dgm:pt>
    <dgm:pt modelId="{7087C6A5-1B2F-4F7F-859E-507F704EB57C}">
      <dgm:prSet/>
      <dgm:spPr/>
      <dgm:t>
        <a:bodyPr/>
        <a:lstStyle/>
        <a:p>
          <a:r>
            <a:rPr lang="en-US" dirty="0"/>
            <a:t>Additional services can be bundled by CSP</a:t>
          </a:r>
        </a:p>
      </dgm:t>
    </dgm:pt>
    <dgm:pt modelId="{0D689FAD-16CC-4E12-91CB-E640CA2B74FB}" type="parTrans" cxnId="{E24BDBE0-E958-4814-96C2-002120339D92}">
      <dgm:prSet/>
      <dgm:spPr/>
      <dgm:t>
        <a:bodyPr/>
        <a:lstStyle/>
        <a:p>
          <a:endParaRPr lang="en-US"/>
        </a:p>
      </dgm:t>
    </dgm:pt>
    <dgm:pt modelId="{2C97D388-CBA4-460E-B374-F7BEF110B0D4}" type="sibTrans" cxnId="{E24BDBE0-E958-4814-96C2-002120339D92}">
      <dgm:prSet/>
      <dgm:spPr/>
      <dgm:t>
        <a:bodyPr/>
        <a:lstStyle/>
        <a:p>
          <a:endParaRPr lang="en-US"/>
        </a:p>
      </dgm:t>
    </dgm:pt>
    <dgm:pt modelId="{80E05638-089A-4733-9E5E-F54606C8EEFF}">
      <dgm:prSet phldrT="[Text]"/>
      <dgm:spPr/>
      <dgm:t>
        <a:bodyPr/>
        <a:lstStyle/>
        <a:p>
          <a:r>
            <a:rPr lang="en-US" dirty="0"/>
            <a:t>No Credit Card required, invoicing option available</a:t>
          </a:r>
        </a:p>
      </dgm:t>
    </dgm:pt>
    <dgm:pt modelId="{51D51CBE-8B49-4677-8056-D7156FDD0019}" type="sibTrans" cxnId="{74140013-A204-49FD-B887-A1C6BDFB6FF8}">
      <dgm:prSet/>
      <dgm:spPr/>
      <dgm:t>
        <a:bodyPr/>
        <a:lstStyle/>
        <a:p>
          <a:endParaRPr lang="en-US"/>
        </a:p>
      </dgm:t>
    </dgm:pt>
    <dgm:pt modelId="{F6DA63D9-E3B0-47C0-98BD-D320A6277A15}" type="parTrans" cxnId="{74140013-A204-49FD-B887-A1C6BDFB6FF8}">
      <dgm:prSet/>
      <dgm:spPr/>
      <dgm:t>
        <a:bodyPr/>
        <a:lstStyle/>
        <a:p>
          <a:endParaRPr lang="en-US"/>
        </a:p>
      </dgm:t>
    </dgm:pt>
    <dgm:pt modelId="{AEEFD463-E2A1-4C0F-B3B5-BFA5FC1B0EE8}">
      <dgm:prSet phldrT="[Text]"/>
      <dgm:spPr/>
      <dgm:t>
        <a:bodyPr/>
        <a:lstStyle/>
        <a:p>
          <a:r>
            <a:rPr lang="en-US" dirty="0"/>
            <a:t>Convenience of offline purchase thru partner</a:t>
          </a:r>
        </a:p>
      </dgm:t>
    </dgm:pt>
    <dgm:pt modelId="{97F39F90-245A-48C6-8684-E8C56C0B96AC}" type="parTrans" cxnId="{91EC82E2-6BDA-4848-8F70-D868F37361C5}">
      <dgm:prSet/>
      <dgm:spPr/>
      <dgm:t>
        <a:bodyPr/>
        <a:lstStyle/>
        <a:p>
          <a:endParaRPr lang="en-US"/>
        </a:p>
      </dgm:t>
    </dgm:pt>
    <dgm:pt modelId="{273F2C5E-8CEA-4A80-AA82-C7A96A51CB81}" type="sibTrans" cxnId="{91EC82E2-6BDA-4848-8F70-D868F37361C5}">
      <dgm:prSet/>
      <dgm:spPr/>
      <dgm:t>
        <a:bodyPr/>
        <a:lstStyle/>
        <a:p>
          <a:endParaRPr lang="en-US"/>
        </a:p>
      </dgm:t>
    </dgm:pt>
    <dgm:pt modelId="{2F0E32CA-471F-476F-A30A-48857ED3CA59}" type="pres">
      <dgm:prSet presAssocID="{87BDA799-569C-4918-ADD4-BE0316FEB3E5}" presName="theList" presStyleCnt="0">
        <dgm:presLayoutVars>
          <dgm:dir/>
          <dgm:animLvl val="lvl"/>
          <dgm:resizeHandles val="exact"/>
        </dgm:presLayoutVars>
      </dgm:prSet>
      <dgm:spPr/>
    </dgm:pt>
    <dgm:pt modelId="{28471E03-1933-4705-A541-0762203E3BC1}" type="pres">
      <dgm:prSet presAssocID="{F92475D8-0042-48D0-BC40-787E89C4C3F0}" presName="compNode" presStyleCnt="0"/>
      <dgm:spPr/>
    </dgm:pt>
    <dgm:pt modelId="{E68FAA0E-4D98-4EA8-9530-38629BA61F57}" type="pres">
      <dgm:prSet presAssocID="{F92475D8-0042-48D0-BC40-787E89C4C3F0}" presName="aNode" presStyleLbl="bgShp" presStyleIdx="0" presStyleCnt="4"/>
      <dgm:spPr/>
    </dgm:pt>
    <dgm:pt modelId="{5C31EF3C-8014-424A-A4B8-607927E3FA6D}" type="pres">
      <dgm:prSet presAssocID="{F92475D8-0042-48D0-BC40-787E89C4C3F0}" presName="textNode" presStyleLbl="bgShp" presStyleIdx="0" presStyleCnt="4"/>
      <dgm:spPr/>
    </dgm:pt>
    <dgm:pt modelId="{15C44F0B-0FDA-4CCE-A652-853FEDC7212E}" type="pres">
      <dgm:prSet presAssocID="{F92475D8-0042-48D0-BC40-787E89C4C3F0}" presName="compChildNode" presStyleCnt="0"/>
      <dgm:spPr/>
    </dgm:pt>
    <dgm:pt modelId="{C0C358D3-4832-430D-B9F3-115E3CE1B039}" type="pres">
      <dgm:prSet presAssocID="{F92475D8-0042-48D0-BC40-787E89C4C3F0}" presName="theInnerList" presStyleCnt="0"/>
      <dgm:spPr/>
    </dgm:pt>
    <dgm:pt modelId="{194D8344-D7FB-4B17-87A4-3E30A7624B48}" type="pres">
      <dgm:prSet presAssocID="{D4BCE9D2-AF2A-4F94-B259-D25203C461E6}" presName="childNode" presStyleLbl="node1" presStyleIdx="0" presStyleCnt="16">
        <dgm:presLayoutVars>
          <dgm:bulletEnabled val="1"/>
        </dgm:presLayoutVars>
      </dgm:prSet>
      <dgm:spPr/>
    </dgm:pt>
    <dgm:pt modelId="{F4B96B7F-ED9F-4B0D-9B5F-5237D5EF673E}" type="pres">
      <dgm:prSet presAssocID="{D4BCE9D2-AF2A-4F94-B259-D25203C461E6}" presName="aSpace2" presStyleCnt="0"/>
      <dgm:spPr/>
    </dgm:pt>
    <dgm:pt modelId="{8319A111-1E75-4287-8284-83E0945AFC47}" type="pres">
      <dgm:prSet presAssocID="{3031B816-0798-4ABD-86BF-72322DE12692}" presName="childNode" presStyleLbl="node1" presStyleIdx="1" presStyleCnt="16">
        <dgm:presLayoutVars>
          <dgm:bulletEnabled val="1"/>
        </dgm:presLayoutVars>
      </dgm:prSet>
      <dgm:spPr/>
    </dgm:pt>
    <dgm:pt modelId="{A14BDC78-5CB2-4963-89AF-EDB940D722B3}" type="pres">
      <dgm:prSet presAssocID="{3031B816-0798-4ABD-86BF-72322DE12692}" presName="aSpace2" presStyleCnt="0"/>
      <dgm:spPr/>
    </dgm:pt>
    <dgm:pt modelId="{DBABA9CA-798B-4085-BE8E-BB36D95E06D9}" type="pres">
      <dgm:prSet presAssocID="{38F07DEE-9E2C-449B-9BFB-2AC2BC19744B}" presName="childNode" presStyleLbl="node1" presStyleIdx="2" presStyleCnt="16">
        <dgm:presLayoutVars>
          <dgm:bulletEnabled val="1"/>
        </dgm:presLayoutVars>
      </dgm:prSet>
      <dgm:spPr/>
    </dgm:pt>
    <dgm:pt modelId="{940D1409-8A28-4279-AB83-E7A86FAADC85}" type="pres">
      <dgm:prSet presAssocID="{38F07DEE-9E2C-449B-9BFB-2AC2BC19744B}" presName="aSpace2" presStyleCnt="0"/>
      <dgm:spPr/>
    </dgm:pt>
    <dgm:pt modelId="{A47BB8D6-6A1C-4C30-A606-C9F216D5FF87}" type="pres">
      <dgm:prSet presAssocID="{F3D4A900-EEA9-43D7-818C-C66EE4D39987}" presName="childNode" presStyleLbl="node1" presStyleIdx="3" presStyleCnt="16">
        <dgm:presLayoutVars>
          <dgm:bulletEnabled val="1"/>
        </dgm:presLayoutVars>
      </dgm:prSet>
      <dgm:spPr/>
    </dgm:pt>
    <dgm:pt modelId="{91B6AE6C-F03A-4CB1-BBCA-1E97627A8BB9}" type="pres">
      <dgm:prSet presAssocID="{F92475D8-0042-48D0-BC40-787E89C4C3F0}" presName="aSpace" presStyleCnt="0"/>
      <dgm:spPr/>
    </dgm:pt>
    <dgm:pt modelId="{092F1292-9B8F-4AE9-BC0E-1816CFB0F7F0}" type="pres">
      <dgm:prSet presAssocID="{0B37BE90-653D-4C32-A6CD-A02DF9BAD4E2}" presName="compNode" presStyleCnt="0"/>
      <dgm:spPr/>
    </dgm:pt>
    <dgm:pt modelId="{B19B2512-5699-409F-B139-7A5E63A2F481}" type="pres">
      <dgm:prSet presAssocID="{0B37BE90-653D-4C32-A6CD-A02DF9BAD4E2}" presName="aNode" presStyleLbl="bgShp" presStyleIdx="1" presStyleCnt="4"/>
      <dgm:spPr/>
    </dgm:pt>
    <dgm:pt modelId="{F2D14D2F-FD88-41BF-9C11-04C0B2F6B21E}" type="pres">
      <dgm:prSet presAssocID="{0B37BE90-653D-4C32-A6CD-A02DF9BAD4E2}" presName="textNode" presStyleLbl="bgShp" presStyleIdx="1" presStyleCnt="4"/>
      <dgm:spPr/>
    </dgm:pt>
    <dgm:pt modelId="{78A60AEB-5EE4-48C3-BFA0-6C09E5C0A44D}" type="pres">
      <dgm:prSet presAssocID="{0B37BE90-653D-4C32-A6CD-A02DF9BAD4E2}" presName="compChildNode" presStyleCnt="0"/>
      <dgm:spPr/>
    </dgm:pt>
    <dgm:pt modelId="{5942DD60-7B9F-4EF2-8814-6C274CC474D4}" type="pres">
      <dgm:prSet presAssocID="{0B37BE90-653D-4C32-A6CD-A02DF9BAD4E2}" presName="theInnerList" presStyleCnt="0"/>
      <dgm:spPr/>
    </dgm:pt>
    <dgm:pt modelId="{83C05222-0F5A-4DF3-8B64-E91574806128}" type="pres">
      <dgm:prSet presAssocID="{9B6A2B3A-BC01-42D3-A547-43B8A94A890E}" presName="childNode" presStyleLbl="node1" presStyleIdx="4" presStyleCnt="16">
        <dgm:presLayoutVars>
          <dgm:bulletEnabled val="1"/>
        </dgm:presLayoutVars>
      </dgm:prSet>
      <dgm:spPr/>
    </dgm:pt>
    <dgm:pt modelId="{2F55C245-AFEC-44CB-8358-132393ABD74A}" type="pres">
      <dgm:prSet presAssocID="{9B6A2B3A-BC01-42D3-A547-43B8A94A890E}" presName="aSpace2" presStyleCnt="0"/>
      <dgm:spPr/>
    </dgm:pt>
    <dgm:pt modelId="{309369A1-26B3-4860-A0C2-551D90A666D9}" type="pres">
      <dgm:prSet presAssocID="{5FE1688A-D2A0-4424-B2F8-369E744F6A08}" presName="childNode" presStyleLbl="node1" presStyleIdx="5" presStyleCnt="16">
        <dgm:presLayoutVars>
          <dgm:bulletEnabled val="1"/>
        </dgm:presLayoutVars>
      </dgm:prSet>
      <dgm:spPr/>
    </dgm:pt>
    <dgm:pt modelId="{B8DE5F2F-9F13-45DF-983C-1BD83A1C8C12}" type="pres">
      <dgm:prSet presAssocID="{5FE1688A-D2A0-4424-B2F8-369E744F6A08}" presName="aSpace2" presStyleCnt="0"/>
      <dgm:spPr/>
    </dgm:pt>
    <dgm:pt modelId="{2906EAF3-B704-4F38-813B-8DB8859EC45C}" type="pres">
      <dgm:prSet presAssocID="{BAAD352C-8E89-4B3E-A2BE-AA34CC441F4D}" presName="childNode" presStyleLbl="node1" presStyleIdx="6" presStyleCnt="16">
        <dgm:presLayoutVars>
          <dgm:bulletEnabled val="1"/>
        </dgm:presLayoutVars>
      </dgm:prSet>
      <dgm:spPr/>
    </dgm:pt>
    <dgm:pt modelId="{38D439F2-824A-41B8-B911-6F4467DCD2D1}" type="pres">
      <dgm:prSet presAssocID="{BAAD352C-8E89-4B3E-A2BE-AA34CC441F4D}" presName="aSpace2" presStyleCnt="0"/>
      <dgm:spPr/>
    </dgm:pt>
    <dgm:pt modelId="{254A5520-AB1E-474D-8528-736E3A4AF658}" type="pres">
      <dgm:prSet presAssocID="{7AC49A1D-ACB1-4803-A7FB-174B944E2985}" presName="childNode" presStyleLbl="node1" presStyleIdx="7" presStyleCnt="16">
        <dgm:presLayoutVars>
          <dgm:bulletEnabled val="1"/>
        </dgm:presLayoutVars>
      </dgm:prSet>
      <dgm:spPr/>
    </dgm:pt>
    <dgm:pt modelId="{08354756-E949-46FE-AF4A-455AF6188675}" type="pres">
      <dgm:prSet presAssocID="{0B37BE90-653D-4C32-A6CD-A02DF9BAD4E2}" presName="aSpace" presStyleCnt="0"/>
      <dgm:spPr/>
    </dgm:pt>
    <dgm:pt modelId="{06F6B43E-BE08-46A5-8599-010C6475FA15}" type="pres">
      <dgm:prSet presAssocID="{E38A52F6-CA00-4BCB-AE5B-00DE763387EF}" presName="compNode" presStyleCnt="0"/>
      <dgm:spPr/>
    </dgm:pt>
    <dgm:pt modelId="{03DC53C1-14BC-420A-9A13-7ADB825A03BD}" type="pres">
      <dgm:prSet presAssocID="{E38A52F6-CA00-4BCB-AE5B-00DE763387EF}" presName="aNode" presStyleLbl="bgShp" presStyleIdx="2" presStyleCnt="4"/>
      <dgm:spPr/>
    </dgm:pt>
    <dgm:pt modelId="{A63F4863-D9F8-44D7-97C6-9DFAFF0B8BC5}" type="pres">
      <dgm:prSet presAssocID="{E38A52F6-CA00-4BCB-AE5B-00DE763387EF}" presName="textNode" presStyleLbl="bgShp" presStyleIdx="2" presStyleCnt="4"/>
      <dgm:spPr/>
    </dgm:pt>
    <dgm:pt modelId="{BD233FB4-0DAB-4C10-9982-F836122DB9A0}" type="pres">
      <dgm:prSet presAssocID="{E38A52F6-CA00-4BCB-AE5B-00DE763387EF}" presName="compChildNode" presStyleCnt="0"/>
      <dgm:spPr/>
    </dgm:pt>
    <dgm:pt modelId="{E6FA229F-41E8-44B5-9D72-FAEE73F48C2F}" type="pres">
      <dgm:prSet presAssocID="{E38A52F6-CA00-4BCB-AE5B-00DE763387EF}" presName="theInnerList" presStyleCnt="0"/>
      <dgm:spPr/>
    </dgm:pt>
    <dgm:pt modelId="{0F532583-AA2C-42F3-9C84-66495CF2B7D4}" type="pres">
      <dgm:prSet presAssocID="{A9C3B8B2-F3C4-4C0B-AD1A-BC56296279E8}" presName="childNode" presStyleLbl="node1" presStyleIdx="8" presStyleCnt="16">
        <dgm:presLayoutVars>
          <dgm:bulletEnabled val="1"/>
        </dgm:presLayoutVars>
      </dgm:prSet>
      <dgm:spPr/>
    </dgm:pt>
    <dgm:pt modelId="{EB53EC77-0BC0-4A29-95E8-DA462164AED3}" type="pres">
      <dgm:prSet presAssocID="{A9C3B8B2-F3C4-4C0B-AD1A-BC56296279E8}" presName="aSpace2" presStyleCnt="0"/>
      <dgm:spPr/>
    </dgm:pt>
    <dgm:pt modelId="{0C0370CC-CD10-4C9A-9811-AD756E780862}" type="pres">
      <dgm:prSet presAssocID="{0D344B29-D1F9-4911-AD35-2C343DF0F589}" presName="childNode" presStyleLbl="node1" presStyleIdx="9" presStyleCnt="16">
        <dgm:presLayoutVars>
          <dgm:bulletEnabled val="1"/>
        </dgm:presLayoutVars>
      </dgm:prSet>
      <dgm:spPr/>
    </dgm:pt>
    <dgm:pt modelId="{BC464FDC-72F6-4D02-B114-06E95612D78F}" type="pres">
      <dgm:prSet presAssocID="{0D344B29-D1F9-4911-AD35-2C343DF0F589}" presName="aSpace2" presStyleCnt="0"/>
      <dgm:spPr/>
    </dgm:pt>
    <dgm:pt modelId="{C077EFB4-DAE6-464C-81F7-1D5689F3ACC4}" type="pres">
      <dgm:prSet presAssocID="{AEEFD463-E2A1-4C0F-B3B5-BFA5FC1B0EE8}" presName="childNode" presStyleLbl="node1" presStyleIdx="10" presStyleCnt="16">
        <dgm:presLayoutVars>
          <dgm:bulletEnabled val="1"/>
        </dgm:presLayoutVars>
      </dgm:prSet>
      <dgm:spPr/>
    </dgm:pt>
    <dgm:pt modelId="{F5E90D5B-A89C-4C1D-A3ED-1C82F44409EA}" type="pres">
      <dgm:prSet presAssocID="{AEEFD463-E2A1-4C0F-B3B5-BFA5FC1B0EE8}" presName="aSpace2" presStyleCnt="0"/>
      <dgm:spPr/>
    </dgm:pt>
    <dgm:pt modelId="{613F00ED-D72B-40AF-821F-514AE8C1C260}" type="pres">
      <dgm:prSet presAssocID="{4182C4BD-5B79-4DB2-89B7-518DBF521D22}" presName="childNode" presStyleLbl="node1" presStyleIdx="11" presStyleCnt="16">
        <dgm:presLayoutVars>
          <dgm:bulletEnabled val="1"/>
        </dgm:presLayoutVars>
      </dgm:prSet>
      <dgm:spPr/>
    </dgm:pt>
    <dgm:pt modelId="{A5B22C30-8DCB-4898-ABD8-CEF7891C4E97}" type="pres">
      <dgm:prSet presAssocID="{E38A52F6-CA00-4BCB-AE5B-00DE763387EF}" presName="aSpace" presStyleCnt="0"/>
      <dgm:spPr/>
    </dgm:pt>
    <dgm:pt modelId="{948E9AB6-0CDF-443A-BE52-FB84D2241F9F}" type="pres">
      <dgm:prSet presAssocID="{E3682C10-7850-4048-A09F-11F6F3FE59EC}" presName="compNode" presStyleCnt="0"/>
      <dgm:spPr/>
    </dgm:pt>
    <dgm:pt modelId="{7E94A286-A523-42A9-BB35-9D117D4D50D8}" type="pres">
      <dgm:prSet presAssocID="{E3682C10-7850-4048-A09F-11F6F3FE59EC}" presName="aNode" presStyleLbl="bgShp" presStyleIdx="3" presStyleCnt="4"/>
      <dgm:spPr/>
    </dgm:pt>
    <dgm:pt modelId="{8A134C15-E103-4B67-B396-F0133D5F5956}" type="pres">
      <dgm:prSet presAssocID="{E3682C10-7850-4048-A09F-11F6F3FE59EC}" presName="textNode" presStyleLbl="bgShp" presStyleIdx="3" presStyleCnt="4"/>
      <dgm:spPr/>
    </dgm:pt>
    <dgm:pt modelId="{24440E69-811B-44F9-9748-0D7AA2FD3107}" type="pres">
      <dgm:prSet presAssocID="{E3682C10-7850-4048-A09F-11F6F3FE59EC}" presName="compChildNode" presStyleCnt="0"/>
      <dgm:spPr/>
    </dgm:pt>
    <dgm:pt modelId="{980039EB-8ECB-4948-B77E-06A2843DE7B8}" type="pres">
      <dgm:prSet presAssocID="{E3682C10-7850-4048-A09F-11F6F3FE59EC}" presName="theInnerList" presStyleCnt="0"/>
      <dgm:spPr/>
    </dgm:pt>
    <dgm:pt modelId="{55E5CD21-E419-4584-B8B7-D547D64B01C9}" type="pres">
      <dgm:prSet presAssocID="{6D45F918-68D1-4AD1-9F66-AF9587B830D3}" presName="childNode" presStyleLbl="node1" presStyleIdx="12" presStyleCnt="16">
        <dgm:presLayoutVars>
          <dgm:bulletEnabled val="1"/>
        </dgm:presLayoutVars>
      </dgm:prSet>
      <dgm:spPr/>
    </dgm:pt>
    <dgm:pt modelId="{3C6821CB-3899-4534-B1CE-81A9DC9C3A4A}" type="pres">
      <dgm:prSet presAssocID="{6D45F918-68D1-4AD1-9F66-AF9587B830D3}" presName="aSpace2" presStyleCnt="0"/>
      <dgm:spPr/>
    </dgm:pt>
    <dgm:pt modelId="{02BC8409-246E-4A0E-A8FC-AC376795A31D}" type="pres">
      <dgm:prSet presAssocID="{60ACDB2B-B07E-462E-8E81-B5B8F8532C91}" presName="childNode" presStyleLbl="node1" presStyleIdx="13" presStyleCnt="16">
        <dgm:presLayoutVars>
          <dgm:bulletEnabled val="1"/>
        </dgm:presLayoutVars>
      </dgm:prSet>
      <dgm:spPr/>
    </dgm:pt>
    <dgm:pt modelId="{F3D32E90-84C5-4326-AF7A-A6F1E64D8F0B}" type="pres">
      <dgm:prSet presAssocID="{60ACDB2B-B07E-462E-8E81-B5B8F8532C91}" presName="aSpace2" presStyleCnt="0"/>
      <dgm:spPr/>
    </dgm:pt>
    <dgm:pt modelId="{2E8CFBBA-7298-4977-928C-7732B4B75372}" type="pres">
      <dgm:prSet presAssocID="{80E05638-089A-4733-9E5E-F54606C8EEFF}" presName="childNode" presStyleLbl="node1" presStyleIdx="14" presStyleCnt="16">
        <dgm:presLayoutVars>
          <dgm:bulletEnabled val="1"/>
        </dgm:presLayoutVars>
      </dgm:prSet>
      <dgm:spPr/>
    </dgm:pt>
    <dgm:pt modelId="{45CB4382-F80B-4F3B-B02B-8948F958ACC1}" type="pres">
      <dgm:prSet presAssocID="{80E05638-089A-4733-9E5E-F54606C8EEFF}" presName="aSpace2" presStyleCnt="0"/>
      <dgm:spPr/>
    </dgm:pt>
    <dgm:pt modelId="{AD0094EA-853F-4225-A443-26E3E341E25E}" type="pres">
      <dgm:prSet presAssocID="{7087C6A5-1B2F-4F7F-859E-507F704EB57C}" presName="childNode" presStyleLbl="node1" presStyleIdx="15" presStyleCnt="16">
        <dgm:presLayoutVars>
          <dgm:bulletEnabled val="1"/>
        </dgm:presLayoutVars>
      </dgm:prSet>
      <dgm:spPr/>
    </dgm:pt>
  </dgm:ptLst>
  <dgm:cxnLst>
    <dgm:cxn modelId="{2F12BC03-1B95-4C37-BEDB-71867A528E58}" type="presOf" srcId="{0B37BE90-653D-4C32-A6CD-A02DF9BAD4E2}" destId="{F2D14D2F-FD88-41BF-9C11-04C0B2F6B21E}" srcOrd="1" destOrd="0" presId="urn:microsoft.com/office/officeart/2005/8/layout/lProcess2"/>
    <dgm:cxn modelId="{19481911-A887-4610-BDA7-97BF008887B4}" type="presOf" srcId="{9B6A2B3A-BC01-42D3-A547-43B8A94A890E}" destId="{83C05222-0F5A-4DF3-8B64-E91574806128}" srcOrd="0" destOrd="0" presId="urn:microsoft.com/office/officeart/2005/8/layout/lProcess2"/>
    <dgm:cxn modelId="{74140013-A204-49FD-B887-A1C6BDFB6FF8}" srcId="{E3682C10-7850-4048-A09F-11F6F3FE59EC}" destId="{80E05638-089A-4733-9E5E-F54606C8EEFF}" srcOrd="2" destOrd="0" parTransId="{F6DA63D9-E3B0-47C0-98BD-D320A6277A15}" sibTransId="{51D51CBE-8B49-4677-8056-D7156FDD0019}"/>
    <dgm:cxn modelId="{8B2E3714-0228-4859-A3EA-52C8B82E1DE1}" type="presOf" srcId="{4182C4BD-5B79-4DB2-89B7-518DBF521D22}" destId="{613F00ED-D72B-40AF-821F-514AE8C1C260}" srcOrd="0" destOrd="0" presId="urn:microsoft.com/office/officeart/2005/8/layout/lProcess2"/>
    <dgm:cxn modelId="{3260ED14-21C6-492C-9C4D-596EDD657E41}" srcId="{E38A52F6-CA00-4BCB-AE5B-00DE763387EF}" destId="{A9C3B8B2-F3C4-4C0B-AD1A-BC56296279E8}" srcOrd="0" destOrd="0" parTransId="{0428976C-3726-4D86-9373-B54F45993705}" sibTransId="{5F88308B-8676-4AD2-9F5C-06C3A51DD39C}"/>
    <dgm:cxn modelId="{246BBA1E-5DE3-436C-84DB-833816D96280}" type="presOf" srcId="{60ACDB2B-B07E-462E-8E81-B5B8F8532C91}" destId="{02BC8409-246E-4A0E-A8FC-AC376795A31D}" srcOrd="0" destOrd="0" presId="urn:microsoft.com/office/officeart/2005/8/layout/lProcess2"/>
    <dgm:cxn modelId="{C9918B26-A65B-4F5F-9E41-01E8C5991A52}" srcId="{0B37BE90-653D-4C32-A6CD-A02DF9BAD4E2}" destId="{9B6A2B3A-BC01-42D3-A547-43B8A94A890E}" srcOrd="0" destOrd="0" parTransId="{A2F58999-6AA8-4CAF-95C2-E1BE4AA27FC8}" sibTransId="{EE3F83FC-9BC9-478B-8663-C53D2EE87C45}"/>
    <dgm:cxn modelId="{3EB26727-EBF0-4346-98D3-1D488886E74B}" srcId="{E38A52F6-CA00-4BCB-AE5B-00DE763387EF}" destId="{4182C4BD-5B79-4DB2-89B7-518DBF521D22}" srcOrd="3" destOrd="0" parTransId="{0BA9EF01-F58E-48C0-A45A-E59E432F8409}" sibTransId="{735A77EB-75F8-4E34-8F2E-18564E8A3ADC}"/>
    <dgm:cxn modelId="{F23A7027-8980-4D69-9E18-A54A76D54966}" type="presOf" srcId="{E3682C10-7850-4048-A09F-11F6F3FE59EC}" destId="{8A134C15-E103-4B67-B396-F0133D5F5956}" srcOrd="1" destOrd="0" presId="urn:microsoft.com/office/officeart/2005/8/layout/lProcess2"/>
    <dgm:cxn modelId="{D6A7BB2D-7CC6-43D8-95AB-26AEB44D8F64}" type="presOf" srcId="{F3D4A900-EEA9-43D7-818C-C66EE4D39987}" destId="{A47BB8D6-6A1C-4C30-A606-C9F216D5FF87}" srcOrd="0" destOrd="0" presId="urn:microsoft.com/office/officeart/2005/8/layout/lProcess2"/>
    <dgm:cxn modelId="{1AC5F038-46E1-482D-8B41-52F1949064E2}" type="presOf" srcId="{3031B816-0798-4ABD-86BF-72322DE12692}" destId="{8319A111-1E75-4287-8284-83E0945AFC47}" srcOrd="0" destOrd="0" presId="urn:microsoft.com/office/officeart/2005/8/layout/lProcess2"/>
    <dgm:cxn modelId="{F0D66239-8FCB-4F84-A7FD-3BB22279044F}" srcId="{E3682C10-7850-4048-A09F-11F6F3FE59EC}" destId="{60ACDB2B-B07E-462E-8E81-B5B8F8532C91}" srcOrd="1" destOrd="0" parTransId="{33FFE7FF-8D69-4FAE-9704-ED62E7B6A57F}" sibTransId="{E78AD06F-3A7F-41C3-9EBD-5650DB4B9828}"/>
    <dgm:cxn modelId="{93F0FE3B-60CB-4022-BBD4-E81CCE715C55}" srcId="{E3682C10-7850-4048-A09F-11F6F3FE59EC}" destId="{6D45F918-68D1-4AD1-9F66-AF9587B830D3}" srcOrd="0" destOrd="0" parTransId="{11CCA21A-B283-44EA-8ACF-B1DF95BE7F5C}" sibTransId="{A5CB1D62-C013-4624-83BD-1AB94FC250B5}"/>
    <dgm:cxn modelId="{9BD8333C-5342-4790-B98F-D2A6E8B9C878}" type="presOf" srcId="{38F07DEE-9E2C-449B-9BFB-2AC2BC19744B}" destId="{DBABA9CA-798B-4085-BE8E-BB36D95E06D9}" srcOrd="0" destOrd="0" presId="urn:microsoft.com/office/officeart/2005/8/layout/lProcess2"/>
    <dgm:cxn modelId="{DFFDE93E-30AC-478E-BDAD-9B138B0DFFE9}" srcId="{E38A52F6-CA00-4BCB-AE5B-00DE763387EF}" destId="{0D344B29-D1F9-4911-AD35-2C343DF0F589}" srcOrd="1" destOrd="0" parTransId="{7A786C9D-6B65-4421-9A4D-9CC742C83D7D}" sibTransId="{0FC3DF36-5A04-49C6-B36D-E350D421DC35}"/>
    <dgm:cxn modelId="{9FA01862-8D7A-48B4-86A7-BB9607E1BA19}" type="presOf" srcId="{5FE1688A-D2A0-4424-B2F8-369E744F6A08}" destId="{309369A1-26B3-4860-A0C2-551D90A666D9}" srcOrd="0" destOrd="0" presId="urn:microsoft.com/office/officeart/2005/8/layout/lProcess2"/>
    <dgm:cxn modelId="{61692062-C503-4A5C-9F19-6353D05A0E0D}" type="presOf" srcId="{E3682C10-7850-4048-A09F-11F6F3FE59EC}" destId="{7E94A286-A523-42A9-BB35-9D117D4D50D8}" srcOrd="0" destOrd="0" presId="urn:microsoft.com/office/officeart/2005/8/layout/lProcess2"/>
    <dgm:cxn modelId="{C7068865-8656-45DD-85AC-6B5620222BE3}" type="presOf" srcId="{80E05638-089A-4733-9E5E-F54606C8EEFF}" destId="{2E8CFBBA-7298-4977-928C-7732B4B75372}" srcOrd="0" destOrd="0" presId="urn:microsoft.com/office/officeart/2005/8/layout/lProcess2"/>
    <dgm:cxn modelId="{ECC47067-9C06-40DC-AEEB-7DE42E6A7FA2}" type="presOf" srcId="{AEEFD463-E2A1-4C0F-B3B5-BFA5FC1B0EE8}" destId="{C077EFB4-DAE6-464C-81F7-1D5689F3ACC4}" srcOrd="0" destOrd="0" presId="urn:microsoft.com/office/officeart/2005/8/layout/lProcess2"/>
    <dgm:cxn modelId="{9677FD4B-E1F7-44C3-BB7D-DC576505B3A5}" srcId="{F92475D8-0042-48D0-BC40-787E89C4C3F0}" destId="{F3D4A900-EEA9-43D7-818C-C66EE4D39987}" srcOrd="3" destOrd="0" parTransId="{7EBA77F8-D525-4A76-ACBE-C381CC64CAFF}" sibTransId="{08C48DCB-4EE4-45AA-8A14-E004092358D3}"/>
    <dgm:cxn modelId="{75E7E06F-CF72-4C1A-802F-0D55509AD6EE}" type="presOf" srcId="{A9C3B8B2-F3C4-4C0B-AD1A-BC56296279E8}" destId="{0F532583-AA2C-42F3-9C84-66495CF2B7D4}" srcOrd="0" destOrd="0" presId="urn:microsoft.com/office/officeart/2005/8/layout/lProcess2"/>
    <dgm:cxn modelId="{51C8FB7C-AFC5-4759-989C-1D62240762B0}" srcId="{87BDA799-569C-4918-ADD4-BE0316FEB3E5}" destId="{F92475D8-0042-48D0-BC40-787E89C4C3F0}" srcOrd="0" destOrd="0" parTransId="{16500910-ABDE-4AB1-A84F-2AF0A17368DD}" sibTransId="{88A515CB-CA10-4D54-8638-C973F26C3C49}"/>
    <dgm:cxn modelId="{7F268C7E-1B2F-4EAB-AE4D-389514AC529F}" srcId="{87BDA799-569C-4918-ADD4-BE0316FEB3E5}" destId="{E3682C10-7850-4048-A09F-11F6F3FE59EC}" srcOrd="3" destOrd="0" parTransId="{BD2CAC44-EEA3-4FAB-9040-8F29F4E2C006}" sibTransId="{F7039017-598B-4531-8BE2-3E8BAD997FC6}"/>
    <dgm:cxn modelId="{5E4E1F8C-F35D-49B3-ABC9-F429C89ACDE8}" srcId="{0B37BE90-653D-4C32-A6CD-A02DF9BAD4E2}" destId="{BAAD352C-8E89-4B3E-A2BE-AA34CC441F4D}" srcOrd="2" destOrd="0" parTransId="{18E217D4-938F-4349-A9C6-C63521F045B6}" sibTransId="{A79238C3-6F28-4D9C-8019-6BB36B747EC1}"/>
    <dgm:cxn modelId="{1D3FD692-50FF-4DAF-B5B0-FC3F11085B04}" type="presOf" srcId="{0D344B29-D1F9-4911-AD35-2C343DF0F589}" destId="{0C0370CC-CD10-4C9A-9811-AD756E780862}" srcOrd="0" destOrd="0" presId="urn:microsoft.com/office/officeart/2005/8/layout/lProcess2"/>
    <dgm:cxn modelId="{D3839893-1236-4D60-B1F8-5F9FD3565A62}" type="presOf" srcId="{F92475D8-0042-48D0-BC40-787E89C4C3F0}" destId="{E68FAA0E-4D98-4EA8-9530-38629BA61F57}" srcOrd="0" destOrd="0" presId="urn:microsoft.com/office/officeart/2005/8/layout/lProcess2"/>
    <dgm:cxn modelId="{6E56D89E-9236-4459-9115-B4EABA2B0E4D}" srcId="{0B37BE90-653D-4C32-A6CD-A02DF9BAD4E2}" destId="{7AC49A1D-ACB1-4803-A7FB-174B944E2985}" srcOrd="3" destOrd="0" parTransId="{DAD7E13D-E131-4E76-B784-EB19D643ECB1}" sibTransId="{343E2126-426C-4AF9-89C8-756A67A87C6A}"/>
    <dgm:cxn modelId="{A0F9499F-5665-4C41-822B-38664716A183}" srcId="{87BDA799-569C-4918-ADD4-BE0316FEB3E5}" destId="{E38A52F6-CA00-4BCB-AE5B-00DE763387EF}" srcOrd="2" destOrd="0" parTransId="{1D68D73C-49A9-4278-AE6E-BC8F1557985D}" sibTransId="{8997F944-764B-47A4-ACC4-55A199CEF74E}"/>
    <dgm:cxn modelId="{5F47BEAD-9516-4AD9-96EC-7A76E963A275}" type="presOf" srcId="{D4BCE9D2-AF2A-4F94-B259-D25203C461E6}" destId="{194D8344-D7FB-4B17-87A4-3E30A7624B48}" srcOrd="0" destOrd="0" presId="urn:microsoft.com/office/officeart/2005/8/layout/lProcess2"/>
    <dgm:cxn modelId="{CF95FCB0-FDEF-4034-B137-3D19C041FA86}" type="presOf" srcId="{E38A52F6-CA00-4BCB-AE5B-00DE763387EF}" destId="{A63F4863-D9F8-44D7-97C6-9DFAFF0B8BC5}" srcOrd="1" destOrd="0" presId="urn:microsoft.com/office/officeart/2005/8/layout/lProcess2"/>
    <dgm:cxn modelId="{361F21B6-CCAD-4688-BB65-B3671C699233}" srcId="{87BDA799-569C-4918-ADD4-BE0316FEB3E5}" destId="{0B37BE90-653D-4C32-A6CD-A02DF9BAD4E2}" srcOrd="1" destOrd="0" parTransId="{2F3B63AC-A6A9-44B5-A6E9-06CD150081E2}" sibTransId="{80F8102F-2AFF-444F-834B-36AB08F879A2}"/>
    <dgm:cxn modelId="{C61F5EBB-3D3D-4C60-8BA5-5BE562997EB5}" srcId="{F92475D8-0042-48D0-BC40-787E89C4C3F0}" destId="{3031B816-0798-4ABD-86BF-72322DE12692}" srcOrd="1" destOrd="0" parTransId="{10ABEFA2-742D-40D9-AD2D-74F398BBA4AB}" sibTransId="{016B57C4-340F-497C-A9F7-44F2EDE22FD7}"/>
    <dgm:cxn modelId="{0838AFBE-B441-4B1A-931E-A85C1910F0BB}" type="presOf" srcId="{E38A52F6-CA00-4BCB-AE5B-00DE763387EF}" destId="{03DC53C1-14BC-420A-9A13-7ADB825A03BD}" srcOrd="0" destOrd="0" presId="urn:microsoft.com/office/officeart/2005/8/layout/lProcess2"/>
    <dgm:cxn modelId="{FC7D18C8-D1DB-4479-AF14-C17714A41259}" srcId="{F92475D8-0042-48D0-BC40-787E89C4C3F0}" destId="{38F07DEE-9E2C-449B-9BFB-2AC2BC19744B}" srcOrd="2" destOrd="0" parTransId="{E2F409FC-92B6-4595-A9DF-7DAD8D421ABA}" sibTransId="{D6753CA4-2C32-4418-9011-98B78A1B4B2F}"/>
    <dgm:cxn modelId="{01E955CC-9E30-4E37-81B5-437434411E18}" type="presOf" srcId="{BAAD352C-8E89-4B3E-A2BE-AA34CC441F4D}" destId="{2906EAF3-B704-4F38-813B-8DB8859EC45C}" srcOrd="0" destOrd="0" presId="urn:microsoft.com/office/officeart/2005/8/layout/lProcess2"/>
    <dgm:cxn modelId="{33115CCE-9D33-4A4E-B838-D0934169D815}" type="presOf" srcId="{7AC49A1D-ACB1-4803-A7FB-174B944E2985}" destId="{254A5520-AB1E-474D-8528-736E3A4AF658}" srcOrd="0" destOrd="0" presId="urn:microsoft.com/office/officeart/2005/8/layout/lProcess2"/>
    <dgm:cxn modelId="{14E251DE-27EE-4618-9513-3CCE4C0F80F1}" type="presOf" srcId="{0B37BE90-653D-4C32-A6CD-A02DF9BAD4E2}" destId="{B19B2512-5699-409F-B139-7A5E63A2F481}" srcOrd="0" destOrd="0" presId="urn:microsoft.com/office/officeart/2005/8/layout/lProcess2"/>
    <dgm:cxn modelId="{E24BDBE0-E958-4814-96C2-002120339D92}" srcId="{E3682C10-7850-4048-A09F-11F6F3FE59EC}" destId="{7087C6A5-1B2F-4F7F-859E-507F704EB57C}" srcOrd="3" destOrd="0" parTransId="{0D689FAD-16CC-4E12-91CB-E640CA2B74FB}" sibTransId="{2C97D388-CBA4-460E-B374-F7BEF110B0D4}"/>
    <dgm:cxn modelId="{91EC82E2-6BDA-4848-8F70-D868F37361C5}" srcId="{E38A52F6-CA00-4BCB-AE5B-00DE763387EF}" destId="{AEEFD463-E2A1-4C0F-B3B5-BFA5FC1B0EE8}" srcOrd="2" destOrd="0" parTransId="{97F39F90-245A-48C6-8684-E8C56C0B96AC}" sibTransId="{273F2C5E-8CEA-4A80-AA82-C7A96A51CB81}"/>
    <dgm:cxn modelId="{D1F957ED-1F55-440E-BF2D-6129F5ECD9EA}" type="presOf" srcId="{87BDA799-569C-4918-ADD4-BE0316FEB3E5}" destId="{2F0E32CA-471F-476F-A30A-48857ED3CA59}" srcOrd="0" destOrd="0" presId="urn:microsoft.com/office/officeart/2005/8/layout/lProcess2"/>
    <dgm:cxn modelId="{6A944CF2-5EB2-46F6-90A0-8068BC23127C}" type="presOf" srcId="{F92475D8-0042-48D0-BC40-787E89C4C3F0}" destId="{5C31EF3C-8014-424A-A4B8-607927E3FA6D}" srcOrd="1" destOrd="0" presId="urn:microsoft.com/office/officeart/2005/8/layout/lProcess2"/>
    <dgm:cxn modelId="{1C04CFF6-57BF-41C8-9588-C5CC61627ABA}" srcId="{0B37BE90-653D-4C32-A6CD-A02DF9BAD4E2}" destId="{5FE1688A-D2A0-4424-B2F8-369E744F6A08}" srcOrd="1" destOrd="0" parTransId="{7EA76E3E-F8BC-473D-8058-8EBDD0968229}" sibTransId="{53CF81BA-E831-4E52-A37A-103D98845DD6}"/>
    <dgm:cxn modelId="{79E902F9-63FA-48FF-995B-0AE4E2FB29CE}" type="presOf" srcId="{6D45F918-68D1-4AD1-9F66-AF9587B830D3}" destId="{55E5CD21-E419-4584-B8B7-D547D64B01C9}" srcOrd="0" destOrd="0" presId="urn:microsoft.com/office/officeart/2005/8/layout/lProcess2"/>
    <dgm:cxn modelId="{49353AFB-209A-472E-81C1-F08E3E89941F}" srcId="{F92475D8-0042-48D0-BC40-787E89C4C3F0}" destId="{D4BCE9D2-AF2A-4F94-B259-D25203C461E6}" srcOrd="0" destOrd="0" parTransId="{A019F0E3-2013-4A2E-A3E5-8B9251EF4FF1}" sibTransId="{7CC78C51-E4A2-4FA5-A968-559481174273}"/>
    <dgm:cxn modelId="{A2C736FF-A6F6-4BB0-93CC-C4F0768F84C4}" type="presOf" srcId="{7087C6A5-1B2F-4F7F-859E-507F704EB57C}" destId="{AD0094EA-853F-4225-A443-26E3E341E25E}" srcOrd="0" destOrd="0" presId="urn:microsoft.com/office/officeart/2005/8/layout/lProcess2"/>
    <dgm:cxn modelId="{0600BBCB-1F9C-4F94-9A38-B5FD1BCDD5F5}" type="presParOf" srcId="{2F0E32CA-471F-476F-A30A-48857ED3CA59}" destId="{28471E03-1933-4705-A541-0762203E3BC1}" srcOrd="0" destOrd="0" presId="urn:microsoft.com/office/officeart/2005/8/layout/lProcess2"/>
    <dgm:cxn modelId="{7C109144-6C39-4DEA-9478-F3756CBEE36D}" type="presParOf" srcId="{28471E03-1933-4705-A541-0762203E3BC1}" destId="{E68FAA0E-4D98-4EA8-9530-38629BA61F57}" srcOrd="0" destOrd="0" presId="urn:microsoft.com/office/officeart/2005/8/layout/lProcess2"/>
    <dgm:cxn modelId="{1ADEB9E3-1ECE-4CA9-83ED-942EF7279914}" type="presParOf" srcId="{28471E03-1933-4705-A541-0762203E3BC1}" destId="{5C31EF3C-8014-424A-A4B8-607927E3FA6D}" srcOrd="1" destOrd="0" presId="urn:microsoft.com/office/officeart/2005/8/layout/lProcess2"/>
    <dgm:cxn modelId="{0B2047D3-A665-4CDE-BBF6-9EC2DA6860C7}" type="presParOf" srcId="{28471E03-1933-4705-A541-0762203E3BC1}" destId="{15C44F0B-0FDA-4CCE-A652-853FEDC7212E}" srcOrd="2" destOrd="0" presId="urn:microsoft.com/office/officeart/2005/8/layout/lProcess2"/>
    <dgm:cxn modelId="{A1363F06-9B9F-4C93-9A1B-69142B6C1CC3}" type="presParOf" srcId="{15C44F0B-0FDA-4CCE-A652-853FEDC7212E}" destId="{C0C358D3-4832-430D-B9F3-115E3CE1B039}" srcOrd="0" destOrd="0" presId="urn:microsoft.com/office/officeart/2005/8/layout/lProcess2"/>
    <dgm:cxn modelId="{59077E9C-1D03-4786-B0CA-33FEBEDA74D5}" type="presParOf" srcId="{C0C358D3-4832-430D-B9F3-115E3CE1B039}" destId="{194D8344-D7FB-4B17-87A4-3E30A7624B48}" srcOrd="0" destOrd="0" presId="urn:microsoft.com/office/officeart/2005/8/layout/lProcess2"/>
    <dgm:cxn modelId="{13CE05B2-D0CF-4948-952F-193F984085F9}" type="presParOf" srcId="{C0C358D3-4832-430D-B9F3-115E3CE1B039}" destId="{F4B96B7F-ED9F-4B0D-9B5F-5237D5EF673E}" srcOrd="1" destOrd="0" presId="urn:microsoft.com/office/officeart/2005/8/layout/lProcess2"/>
    <dgm:cxn modelId="{835C6ECD-E916-4594-B7D8-EBDDB90D7F21}" type="presParOf" srcId="{C0C358D3-4832-430D-B9F3-115E3CE1B039}" destId="{8319A111-1E75-4287-8284-83E0945AFC47}" srcOrd="2" destOrd="0" presId="urn:microsoft.com/office/officeart/2005/8/layout/lProcess2"/>
    <dgm:cxn modelId="{502C5CD9-9F37-4FB6-A7D9-B595BE9A9373}" type="presParOf" srcId="{C0C358D3-4832-430D-B9F3-115E3CE1B039}" destId="{A14BDC78-5CB2-4963-89AF-EDB940D722B3}" srcOrd="3" destOrd="0" presId="urn:microsoft.com/office/officeart/2005/8/layout/lProcess2"/>
    <dgm:cxn modelId="{CC0EF5B0-3CAC-4DD9-9ABF-624E1E9E8C1A}" type="presParOf" srcId="{C0C358D3-4832-430D-B9F3-115E3CE1B039}" destId="{DBABA9CA-798B-4085-BE8E-BB36D95E06D9}" srcOrd="4" destOrd="0" presId="urn:microsoft.com/office/officeart/2005/8/layout/lProcess2"/>
    <dgm:cxn modelId="{D0CCFA1B-2E0C-4CAA-B2F1-A3343C85BD3F}" type="presParOf" srcId="{C0C358D3-4832-430D-B9F3-115E3CE1B039}" destId="{940D1409-8A28-4279-AB83-E7A86FAADC85}" srcOrd="5" destOrd="0" presId="urn:microsoft.com/office/officeart/2005/8/layout/lProcess2"/>
    <dgm:cxn modelId="{61FE7125-551D-4A99-8CD0-81B363230720}" type="presParOf" srcId="{C0C358D3-4832-430D-B9F3-115E3CE1B039}" destId="{A47BB8D6-6A1C-4C30-A606-C9F216D5FF87}" srcOrd="6" destOrd="0" presId="urn:microsoft.com/office/officeart/2005/8/layout/lProcess2"/>
    <dgm:cxn modelId="{4540FA17-4825-43A2-B76E-31A7F4CAED1D}" type="presParOf" srcId="{2F0E32CA-471F-476F-A30A-48857ED3CA59}" destId="{91B6AE6C-F03A-4CB1-BBCA-1E97627A8BB9}" srcOrd="1" destOrd="0" presId="urn:microsoft.com/office/officeart/2005/8/layout/lProcess2"/>
    <dgm:cxn modelId="{6B7476F1-D1CA-4216-BA58-77137B594AAF}" type="presParOf" srcId="{2F0E32CA-471F-476F-A30A-48857ED3CA59}" destId="{092F1292-9B8F-4AE9-BC0E-1816CFB0F7F0}" srcOrd="2" destOrd="0" presId="urn:microsoft.com/office/officeart/2005/8/layout/lProcess2"/>
    <dgm:cxn modelId="{1228E8CF-2197-45D7-8FDD-715CE9B7107D}" type="presParOf" srcId="{092F1292-9B8F-4AE9-BC0E-1816CFB0F7F0}" destId="{B19B2512-5699-409F-B139-7A5E63A2F481}" srcOrd="0" destOrd="0" presId="urn:microsoft.com/office/officeart/2005/8/layout/lProcess2"/>
    <dgm:cxn modelId="{6440187C-9DFD-4DD5-83BB-7E3AB3F74500}" type="presParOf" srcId="{092F1292-9B8F-4AE9-BC0E-1816CFB0F7F0}" destId="{F2D14D2F-FD88-41BF-9C11-04C0B2F6B21E}" srcOrd="1" destOrd="0" presId="urn:microsoft.com/office/officeart/2005/8/layout/lProcess2"/>
    <dgm:cxn modelId="{1C459A62-F255-4930-8649-4E9E04882308}" type="presParOf" srcId="{092F1292-9B8F-4AE9-BC0E-1816CFB0F7F0}" destId="{78A60AEB-5EE4-48C3-BFA0-6C09E5C0A44D}" srcOrd="2" destOrd="0" presId="urn:microsoft.com/office/officeart/2005/8/layout/lProcess2"/>
    <dgm:cxn modelId="{FBCB691F-CAB4-40B0-9083-903567E0859E}" type="presParOf" srcId="{78A60AEB-5EE4-48C3-BFA0-6C09E5C0A44D}" destId="{5942DD60-7B9F-4EF2-8814-6C274CC474D4}" srcOrd="0" destOrd="0" presId="urn:microsoft.com/office/officeart/2005/8/layout/lProcess2"/>
    <dgm:cxn modelId="{4BED5B78-4638-4FD8-98FE-9D0FB8FAF4AB}" type="presParOf" srcId="{5942DD60-7B9F-4EF2-8814-6C274CC474D4}" destId="{83C05222-0F5A-4DF3-8B64-E91574806128}" srcOrd="0" destOrd="0" presId="urn:microsoft.com/office/officeart/2005/8/layout/lProcess2"/>
    <dgm:cxn modelId="{F331C2A7-031A-42DE-994C-78B09C4ADE51}" type="presParOf" srcId="{5942DD60-7B9F-4EF2-8814-6C274CC474D4}" destId="{2F55C245-AFEC-44CB-8358-132393ABD74A}" srcOrd="1" destOrd="0" presId="urn:microsoft.com/office/officeart/2005/8/layout/lProcess2"/>
    <dgm:cxn modelId="{BA92933E-D5CB-49AD-BD96-713D4B1397DB}" type="presParOf" srcId="{5942DD60-7B9F-4EF2-8814-6C274CC474D4}" destId="{309369A1-26B3-4860-A0C2-551D90A666D9}" srcOrd="2" destOrd="0" presId="urn:microsoft.com/office/officeart/2005/8/layout/lProcess2"/>
    <dgm:cxn modelId="{96F68B16-4999-46DC-8019-E579B24D8FA7}" type="presParOf" srcId="{5942DD60-7B9F-4EF2-8814-6C274CC474D4}" destId="{B8DE5F2F-9F13-45DF-983C-1BD83A1C8C12}" srcOrd="3" destOrd="0" presId="urn:microsoft.com/office/officeart/2005/8/layout/lProcess2"/>
    <dgm:cxn modelId="{CA25CF74-7E16-49EC-BF1A-7672F0134E8C}" type="presParOf" srcId="{5942DD60-7B9F-4EF2-8814-6C274CC474D4}" destId="{2906EAF3-B704-4F38-813B-8DB8859EC45C}" srcOrd="4" destOrd="0" presId="urn:microsoft.com/office/officeart/2005/8/layout/lProcess2"/>
    <dgm:cxn modelId="{599909EC-4531-44A1-959E-93386AD79C79}" type="presParOf" srcId="{5942DD60-7B9F-4EF2-8814-6C274CC474D4}" destId="{38D439F2-824A-41B8-B911-6F4467DCD2D1}" srcOrd="5" destOrd="0" presId="urn:microsoft.com/office/officeart/2005/8/layout/lProcess2"/>
    <dgm:cxn modelId="{F4944B1C-BC33-4AE9-93DC-1F4EE4630425}" type="presParOf" srcId="{5942DD60-7B9F-4EF2-8814-6C274CC474D4}" destId="{254A5520-AB1E-474D-8528-736E3A4AF658}" srcOrd="6" destOrd="0" presId="urn:microsoft.com/office/officeart/2005/8/layout/lProcess2"/>
    <dgm:cxn modelId="{9927327E-296E-470B-87FB-8B24F04F579B}" type="presParOf" srcId="{2F0E32CA-471F-476F-A30A-48857ED3CA59}" destId="{08354756-E949-46FE-AF4A-455AF6188675}" srcOrd="3" destOrd="0" presId="urn:microsoft.com/office/officeart/2005/8/layout/lProcess2"/>
    <dgm:cxn modelId="{4318CB87-78D1-4A5E-97F5-8A67BF36C212}" type="presParOf" srcId="{2F0E32CA-471F-476F-A30A-48857ED3CA59}" destId="{06F6B43E-BE08-46A5-8599-010C6475FA15}" srcOrd="4" destOrd="0" presId="urn:microsoft.com/office/officeart/2005/8/layout/lProcess2"/>
    <dgm:cxn modelId="{951209ED-8521-4FF4-97F1-A2C582D01330}" type="presParOf" srcId="{06F6B43E-BE08-46A5-8599-010C6475FA15}" destId="{03DC53C1-14BC-420A-9A13-7ADB825A03BD}" srcOrd="0" destOrd="0" presId="urn:microsoft.com/office/officeart/2005/8/layout/lProcess2"/>
    <dgm:cxn modelId="{B78699D1-1929-4C06-9AE7-65A5DAB8EE2C}" type="presParOf" srcId="{06F6B43E-BE08-46A5-8599-010C6475FA15}" destId="{A63F4863-D9F8-44D7-97C6-9DFAFF0B8BC5}" srcOrd="1" destOrd="0" presId="urn:microsoft.com/office/officeart/2005/8/layout/lProcess2"/>
    <dgm:cxn modelId="{CA9EF2EB-C044-46AB-9849-CBAF5E3D51DF}" type="presParOf" srcId="{06F6B43E-BE08-46A5-8599-010C6475FA15}" destId="{BD233FB4-0DAB-4C10-9982-F836122DB9A0}" srcOrd="2" destOrd="0" presId="urn:microsoft.com/office/officeart/2005/8/layout/lProcess2"/>
    <dgm:cxn modelId="{717EFA4A-ACCC-4B66-A3E7-57B164374371}" type="presParOf" srcId="{BD233FB4-0DAB-4C10-9982-F836122DB9A0}" destId="{E6FA229F-41E8-44B5-9D72-FAEE73F48C2F}" srcOrd="0" destOrd="0" presId="urn:microsoft.com/office/officeart/2005/8/layout/lProcess2"/>
    <dgm:cxn modelId="{FB9CE34C-413B-433B-B0C9-069CD03780D0}" type="presParOf" srcId="{E6FA229F-41E8-44B5-9D72-FAEE73F48C2F}" destId="{0F532583-AA2C-42F3-9C84-66495CF2B7D4}" srcOrd="0" destOrd="0" presId="urn:microsoft.com/office/officeart/2005/8/layout/lProcess2"/>
    <dgm:cxn modelId="{6CC69281-381F-48BA-AD60-C4712F502EA6}" type="presParOf" srcId="{E6FA229F-41E8-44B5-9D72-FAEE73F48C2F}" destId="{EB53EC77-0BC0-4A29-95E8-DA462164AED3}" srcOrd="1" destOrd="0" presId="urn:microsoft.com/office/officeart/2005/8/layout/lProcess2"/>
    <dgm:cxn modelId="{4F0364AC-0A38-4B98-BD6F-E85BBD7DAAFE}" type="presParOf" srcId="{E6FA229F-41E8-44B5-9D72-FAEE73F48C2F}" destId="{0C0370CC-CD10-4C9A-9811-AD756E780862}" srcOrd="2" destOrd="0" presId="urn:microsoft.com/office/officeart/2005/8/layout/lProcess2"/>
    <dgm:cxn modelId="{27C8A801-496F-44F5-A79C-C53CCE95FD8D}" type="presParOf" srcId="{E6FA229F-41E8-44B5-9D72-FAEE73F48C2F}" destId="{BC464FDC-72F6-4D02-B114-06E95612D78F}" srcOrd="3" destOrd="0" presId="urn:microsoft.com/office/officeart/2005/8/layout/lProcess2"/>
    <dgm:cxn modelId="{48674AD1-8B94-4377-9F25-2D8A73536E98}" type="presParOf" srcId="{E6FA229F-41E8-44B5-9D72-FAEE73F48C2F}" destId="{C077EFB4-DAE6-464C-81F7-1D5689F3ACC4}" srcOrd="4" destOrd="0" presId="urn:microsoft.com/office/officeart/2005/8/layout/lProcess2"/>
    <dgm:cxn modelId="{3CACE347-C2F6-44AC-B3C8-16183F943AA2}" type="presParOf" srcId="{E6FA229F-41E8-44B5-9D72-FAEE73F48C2F}" destId="{F5E90D5B-A89C-4C1D-A3ED-1C82F44409EA}" srcOrd="5" destOrd="0" presId="urn:microsoft.com/office/officeart/2005/8/layout/lProcess2"/>
    <dgm:cxn modelId="{D95D669D-8A74-48C2-B36A-108EDE652A25}" type="presParOf" srcId="{E6FA229F-41E8-44B5-9D72-FAEE73F48C2F}" destId="{613F00ED-D72B-40AF-821F-514AE8C1C260}" srcOrd="6" destOrd="0" presId="urn:microsoft.com/office/officeart/2005/8/layout/lProcess2"/>
    <dgm:cxn modelId="{E4BD676D-F4BA-4D7D-97DC-27F7C30D3D40}" type="presParOf" srcId="{2F0E32CA-471F-476F-A30A-48857ED3CA59}" destId="{A5B22C30-8DCB-4898-ABD8-CEF7891C4E97}" srcOrd="5" destOrd="0" presId="urn:microsoft.com/office/officeart/2005/8/layout/lProcess2"/>
    <dgm:cxn modelId="{AA67996A-BB69-4BD8-B3AD-87777128719A}" type="presParOf" srcId="{2F0E32CA-471F-476F-A30A-48857ED3CA59}" destId="{948E9AB6-0CDF-443A-BE52-FB84D2241F9F}" srcOrd="6" destOrd="0" presId="urn:microsoft.com/office/officeart/2005/8/layout/lProcess2"/>
    <dgm:cxn modelId="{E9C0F2C0-04A1-4A97-A93B-10E82D10F570}" type="presParOf" srcId="{948E9AB6-0CDF-443A-BE52-FB84D2241F9F}" destId="{7E94A286-A523-42A9-BB35-9D117D4D50D8}" srcOrd="0" destOrd="0" presId="urn:microsoft.com/office/officeart/2005/8/layout/lProcess2"/>
    <dgm:cxn modelId="{BCF74F7E-5521-4105-B055-D2BE2D4C63EA}" type="presParOf" srcId="{948E9AB6-0CDF-443A-BE52-FB84D2241F9F}" destId="{8A134C15-E103-4B67-B396-F0133D5F5956}" srcOrd="1" destOrd="0" presId="urn:microsoft.com/office/officeart/2005/8/layout/lProcess2"/>
    <dgm:cxn modelId="{8BAC3365-F26C-4F81-81FE-C531E0448D49}" type="presParOf" srcId="{948E9AB6-0CDF-443A-BE52-FB84D2241F9F}" destId="{24440E69-811B-44F9-9748-0D7AA2FD3107}" srcOrd="2" destOrd="0" presId="urn:microsoft.com/office/officeart/2005/8/layout/lProcess2"/>
    <dgm:cxn modelId="{2E9F7828-BE3F-4305-89E0-E92EE8FF8655}" type="presParOf" srcId="{24440E69-811B-44F9-9748-0D7AA2FD3107}" destId="{980039EB-8ECB-4948-B77E-06A2843DE7B8}" srcOrd="0" destOrd="0" presId="urn:microsoft.com/office/officeart/2005/8/layout/lProcess2"/>
    <dgm:cxn modelId="{1F82ACA8-0A8C-4A04-8DA9-8354A04DF1C1}" type="presParOf" srcId="{980039EB-8ECB-4948-B77E-06A2843DE7B8}" destId="{55E5CD21-E419-4584-B8B7-D547D64B01C9}" srcOrd="0" destOrd="0" presId="urn:microsoft.com/office/officeart/2005/8/layout/lProcess2"/>
    <dgm:cxn modelId="{C351A45E-62EF-4C84-A706-FA73AB72C440}" type="presParOf" srcId="{980039EB-8ECB-4948-B77E-06A2843DE7B8}" destId="{3C6821CB-3899-4534-B1CE-81A9DC9C3A4A}" srcOrd="1" destOrd="0" presId="urn:microsoft.com/office/officeart/2005/8/layout/lProcess2"/>
    <dgm:cxn modelId="{56357F50-5B8F-48F4-82C0-CD1EBF840674}" type="presParOf" srcId="{980039EB-8ECB-4948-B77E-06A2843DE7B8}" destId="{02BC8409-246E-4A0E-A8FC-AC376795A31D}" srcOrd="2" destOrd="0" presId="urn:microsoft.com/office/officeart/2005/8/layout/lProcess2"/>
    <dgm:cxn modelId="{71B05A02-B92D-42B8-B7C4-9D0D72E9B4D8}" type="presParOf" srcId="{980039EB-8ECB-4948-B77E-06A2843DE7B8}" destId="{F3D32E90-84C5-4326-AF7A-A6F1E64D8F0B}" srcOrd="3" destOrd="0" presId="urn:microsoft.com/office/officeart/2005/8/layout/lProcess2"/>
    <dgm:cxn modelId="{28495BF1-6235-4947-971E-D4BB5B0C272E}" type="presParOf" srcId="{980039EB-8ECB-4948-B77E-06A2843DE7B8}" destId="{2E8CFBBA-7298-4977-928C-7732B4B75372}" srcOrd="4" destOrd="0" presId="urn:microsoft.com/office/officeart/2005/8/layout/lProcess2"/>
    <dgm:cxn modelId="{A1E537EB-090C-443D-8599-64B7F399716B}" type="presParOf" srcId="{980039EB-8ECB-4948-B77E-06A2843DE7B8}" destId="{45CB4382-F80B-4F3B-B02B-8948F958ACC1}" srcOrd="5" destOrd="0" presId="urn:microsoft.com/office/officeart/2005/8/layout/lProcess2"/>
    <dgm:cxn modelId="{D70D49E4-CBC9-4CAE-B726-FC9E0CE5690E}" type="presParOf" srcId="{980039EB-8ECB-4948-B77E-06A2843DE7B8}" destId="{AD0094EA-853F-4225-A443-26E3E341E25E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8FAA0E-4D98-4EA8-9530-38629BA61F57}">
      <dsp:nvSpPr>
        <dsp:cNvPr id="0" name=""/>
        <dsp:cNvSpPr/>
      </dsp:nvSpPr>
      <dsp:spPr>
        <a:xfrm>
          <a:off x="2138" y="0"/>
          <a:ext cx="2098272" cy="561546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Enterprise Agreement</a:t>
          </a:r>
        </a:p>
      </dsp:txBody>
      <dsp:txXfrm>
        <a:off x="2138" y="0"/>
        <a:ext cx="2098272" cy="1684638"/>
      </dsp:txXfrm>
    </dsp:sp>
    <dsp:sp modelId="{194D8344-D7FB-4B17-87A4-3E30A7624B48}">
      <dsp:nvSpPr>
        <dsp:cNvPr id="0" name=""/>
        <dsp:cNvSpPr/>
      </dsp:nvSpPr>
      <dsp:spPr>
        <a:xfrm>
          <a:off x="211965" y="1684775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vailable since Sep 27, 2015</a:t>
          </a:r>
        </a:p>
      </dsp:txBody>
      <dsp:txXfrm>
        <a:off x="235925" y="1708735"/>
        <a:ext cx="1630698" cy="770133"/>
      </dsp:txXfrm>
    </dsp:sp>
    <dsp:sp modelId="{8319A111-1E75-4287-8284-83E0945AFC47}">
      <dsp:nvSpPr>
        <dsp:cNvPr id="0" name=""/>
        <dsp:cNvSpPr/>
      </dsp:nvSpPr>
      <dsp:spPr>
        <a:xfrm>
          <a:off x="211965" y="2628682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Volume Licensing contract thru LSP</a:t>
          </a:r>
        </a:p>
      </dsp:txBody>
      <dsp:txXfrm>
        <a:off x="235925" y="2652642"/>
        <a:ext cx="1630698" cy="770133"/>
      </dsp:txXfrm>
    </dsp:sp>
    <dsp:sp modelId="{DBABA9CA-798B-4085-BE8E-BB36D95E06D9}">
      <dsp:nvSpPr>
        <dsp:cNvPr id="0" name=""/>
        <dsp:cNvSpPr/>
      </dsp:nvSpPr>
      <dsp:spPr>
        <a:xfrm>
          <a:off x="211965" y="3572590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llows flexible contracting for complex deals</a:t>
          </a:r>
        </a:p>
      </dsp:txBody>
      <dsp:txXfrm>
        <a:off x="235925" y="3596550"/>
        <a:ext cx="1630698" cy="770133"/>
      </dsp:txXfrm>
    </dsp:sp>
    <dsp:sp modelId="{A47BB8D6-6A1C-4C30-A606-C9F216D5FF87}">
      <dsp:nvSpPr>
        <dsp:cNvPr id="0" name=""/>
        <dsp:cNvSpPr/>
      </dsp:nvSpPr>
      <dsp:spPr>
        <a:xfrm>
          <a:off x="211965" y="4516497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- Additional promos available on Monitory Commitment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- Option to lock prices for 3 Years</a:t>
          </a:r>
        </a:p>
      </dsp:txBody>
      <dsp:txXfrm>
        <a:off x="235925" y="4540457"/>
        <a:ext cx="1630698" cy="770133"/>
      </dsp:txXfrm>
    </dsp:sp>
    <dsp:sp modelId="{B19B2512-5699-409F-B139-7A5E63A2F481}">
      <dsp:nvSpPr>
        <dsp:cNvPr id="0" name=""/>
        <dsp:cNvSpPr/>
      </dsp:nvSpPr>
      <dsp:spPr>
        <a:xfrm>
          <a:off x="2257781" y="0"/>
          <a:ext cx="2098272" cy="561546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Web Direct</a:t>
          </a:r>
        </a:p>
      </dsp:txBody>
      <dsp:txXfrm>
        <a:off x="2257781" y="0"/>
        <a:ext cx="2098272" cy="1684638"/>
      </dsp:txXfrm>
    </dsp:sp>
    <dsp:sp modelId="{83C05222-0F5A-4DF3-8B64-E91574806128}">
      <dsp:nvSpPr>
        <dsp:cNvPr id="0" name=""/>
        <dsp:cNvSpPr/>
      </dsp:nvSpPr>
      <dsp:spPr>
        <a:xfrm>
          <a:off x="2467608" y="1684775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vailable - 15</a:t>
          </a:r>
          <a:r>
            <a:rPr lang="en-US" sz="900" kern="1200" baseline="30000" dirty="0"/>
            <a:t>th</a:t>
          </a:r>
          <a:r>
            <a:rPr lang="en-US" sz="900" kern="1200" dirty="0"/>
            <a:t> Sept 2016</a:t>
          </a:r>
        </a:p>
      </dsp:txBody>
      <dsp:txXfrm>
        <a:off x="2491568" y="1708735"/>
        <a:ext cx="1630698" cy="770133"/>
      </dsp:txXfrm>
    </dsp:sp>
    <dsp:sp modelId="{309369A1-26B3-4860-A0C2-551D90A666D9}">
      <dsp:nvSpPr>
        <dsp:cNvPr id="0" name=""/>
        <dsp:cNvSpPr/>
      </dsp:nvSpPr>
      <dsp:spPr>
        <a:xfrm>
          <a:off x="2467608" y="2628682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Online subscription using credit card</a:t>
          </a:r>
        </a:p>
      </dsp:txBody>
      <dsp:txXfrm>
        <a:off x="2491568" y="2652642"/>
        <a:ext cx="1630698" cy="770133"/>
      </dsp:txXfrm>
    </dsp:sp>
    <dsp:sp modelId="{2906EAF3-B704-4F38-813B-8DB8859EC45C}">
      <dsp:nvSpPr>
        <dsp:cNvPr id="0" name=""/>
        <dsp:cNvSpPr/>
      </dsp:nvSpPr>
      <dsp:spPr>
        <a:xfrm>
          <a:off x="2467608" y="3572590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Start your cloud journey immediately with minimum online subscription</a:t>
          </a:r>
        </a:p>
      </dsp:txBody>
      <dsp:txXfrm>
        <a:off x="2491568" y="3596550"/>
        <a:ext cx="1630698" cy="770133"/>
      </dsp:txXfrm>
    </dsp:sp>
    <dsp:sp modelId="{254A5520-AB1E-474D-8528-736E3A4AF658}">
      <dsp:nvSpPr>
        <dsp:cNvPr id="0" name=""/>
        <dsp:cNvSpPr/>
      </dsp:nvSpPr>
      <dsp:spPr>
        <a:xfrm>
          <a:off x="2467608" y="4516497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- Transparent Online Pricing</a:t>
          </a:r>
        </a:p>
      </dsp:txBody>
      <dsp:txXfrm>
        <a:off x="2491568" y="4540457"/>
        <a:ext cx="1630698" cy="770133"/>
      </dsp:txXfrm>
    </dsp:sp>
    <dsp:sp modelId="{03DC53C1-14BC-420A-9A13-7ADB825A03BD}">
      <dsp:nvSpPr>
        <dsp:cNvPr id="0" name=""/>
        <dsp:cNvSpPr/>
      </dsp:nvSpPr>
      <dsp:spPr>
        <a:xfrm>
          <a:off x="4513424" y="0"/>
          <a:ext cx="2098272" cy="561546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Open</a:t>
          </a:r>
        </a:p>
      </dsp:txBody>
      <dsp:txXfrm>
        <a:off x="4513424" y="0"/>
        <a:ext cx="2098272" cy="1684638"/>
      </dsp:txXfrm>
    </dsp:sp>
    <dsp:sp modelId="{0F532583-AA2C-42F3-9C84-66495CF2B7D4}">
      <dsp:nvSpPr>
        <dsp:cNvPr id="0" name=""/>
        <dsp:cNvSpPr/>
      </dsp:nvSpPr>
      <dsp:spPr>
        <a:xfrm>
          <a:off x="4723251" y="1684775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vailable - 15</a:t>
          </a:r>
          <a:r>
            <a:rPr lang="en-US" sz="900" kern="1200" baseline="30000" dirty="0"/>
            <a:t>th</a:t>
          </a:r>
          <a:r>
            <a:rPr lang="en-US" sz="900" kern="1200" dirty="0"/>
            <a:t> Sept 2016</a:t>
          </a:r>
        </a:p>
      </dsp:txBody>
      <dsp:txXfrm>
        <a:off x="4747211" y="1708735"/>
        <a:ext cx="1630698" cy="770133"/>
      </dsp:txXfrm>
    </dsp:sp>
    <dsp:sp modelId="{0C0370CC-CD10-4C9A-9811-AD756E780862}">
      <dsp:nvSpPr>
        <dsp:cNvPr id="0" name=""/>
        <dsp:cNvSpPr/>
      </dsp:nvSpPr>
      <dsp:spPr>
        <a:xfrm>
          <a:off x="4723251" y="2628682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Coupon purchase from partner with/without Credit Card option</a:t>
          </a:r>
        </a:p>
      </dsp:txBody>
      <dsp:txXfrm>
        <a:off x="4747211" y="2652642"/>
        <a:ext cx="1630698" cy="770133"/>
      </dsp:txXfrm>
    </dsp:sp>
    <dsp:sp modelId="{C077EFB4-DAE6-464C-81F7-1D5689F3ACC4}">
      <dsp:nvSpPr>
        <dsp:cNvPr id="0" name=""/>
        <dsp:cNvSpPr/>
      </dsp:nvSpPr>
      <dsp:spPr>
        <a:xfrm>
          <a:off x="4723251" y="3572590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Convenience of offline purchase thru partner</a:t>
          </a:r>
        </a:p>
      </dsp:txBody>
      <dsp:txXfrm>
        <a:off x="4747211" y="3596550"/>
        <a:ext cx="1630698" cy="770133"/>
      </dsp:txXfrm>
    </dsp:sp>
    <dsp:sp modelId="{613F00ED-D72B-40AF-821F-514AE8C1C260}">
      <dsp:nvSpPr>
        <dsp:cNvPr id="0" name=""/>
        <dsp:cNvSpPr/>
      </dsp:nvSpPr>
      <dsp:spPr>
        <a:xfrm>
          <a:off x="4723251" y="4516497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Transparent Online pricing</a:t>
          </a:r>
        </a:p>
      </dsp:txBody>
      <dsp:txXfrm>
        <a:off x="4747211" y="4540457"/>
        <a:ext cx="1630698" cy="770133"/>
      </dsp:txXfrm>
    </dsp:sp>
    <dsp:sp modelId="{7E94A286-A523-42A9-BB35-9D117D4D50D8}">
      <dsp:nvSpPr>
        <dsp:cNvPr id="0" name=""/>
        <dsp:cNvSpPr/>
      </dsp:nvSpPr>
      <dsp:spPr>
        <a:xfrm>
          <a:off x="6769067" y="0"/>
          <a:ext cx="2098272" cy="561546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CSP</a:t>
          </a:r>
        </a:p>
      </dsp:txBody>
      <dsp:txXfrm>
        <a:off x="6769067" y="0"/>
        <a:ext cx="2098272" cy="1684638"/>
      </dsp:txXfrm>
    </dsp:sp>
    <dsp:sp modelId="{55E5CD21-E419-4584-B8B7-D547D64B01C9}">
      <dsp:nvSpPr>
        <dsp:cNvPr id="0" name=""/>
        <dsp:cNvSpPr/>
      </dsp:nvSpPr>
      <dsp:spPr>
        <a:xfrm>
          <a:off x="6978894" y="1684775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vailable - 15</a:t>
          </a:r>
          <a:r>
            <a:rPr lang="en-US" sz="900" kern="1200" baseline="30000" dirty="0"/>
            <a:t>th</a:t>
          </a:r>
          <a:r>
            <a:rPr lang="en-US" sz="900" kern="1200" dirty="0"/>
            <a:t> Sept 2016</a:t>
          </a:r>
        </a:p>
      </dsp:txBody>
      <dsp:txXfrm>
        <a:off x="7002854" y="1708735"/>
        <a:ext cx="1630698" cy="770133"/>
      </dsp:txXfrm>
    </dsp:sp>
    <dsp:sp modelId="{02BC8409-246E-4A0E-A8FC-AC376795A31D}">
      <dsp:nvSpPr>
        <dsp:cNvPr id="0" name=""/>
        <dsp:cNvSpPr/>
      </dsp:nvSpPr>
      <dsp:spPr>
        <a:xfrm>
          <a:off x="6978894" y="2628682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Through Cloud Solution Provider Partner</a:t>
          </a:r>
        </a:p>
      </dsp:txBody>
      <dsp:txXfrm>
        <a:off x="7002854" y="2652642"/>
        <a:ext cx="1630698" cy="770133"/>
      </dsp:txXfrm>
    </dsp:sp>
    <dsp:sp modelId="{2E8CFBBA-7298-4977-928C-7732B4B75372}">
      <dsp:nvSpPr>
        <dsp:cNvPr id="0" name=""/>
        <dsp:cNvSpPr/>
      </dsp:nvSpPr>
      <dsp:spPr>
        <a:xfrm>
          <a:off x="6978894" y="3572590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No Credit Card required, invoicing option available</a:t>
          </a:r>
        </a:p>
      </dsp:txBody>
      <dsp:txXfrm>
        <a:off x="7002854" y="3596550"/>
        <a:ext cx="1630698" cy="770133"/>
      </dsp:txXfrm>
    </dsp:sp>
    <dsp:sp modelId="{AD0094EA-853F-4225-A443-26E3E341E25E}">
      <dsp:nvSpPr>
        <dsp:cNvPr id="0" name=""/>
        <dsp:cNvSpPr/>
      </dsp:nvSpPr>
      <dsp:spPr>
        <a:xfrm>
          <a:off x="6978894" y="4516497"/>
          <a:ext cx="1678618" cy="8180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dditional services can be bundled by CSP</a:t>
          </a:r>
        </a:p>
      </dsp:txBody>
      <dsp:txXfrm>
        <a:off x="7002854" y="4540457"/>
        <a:ext cx="1630698" cy="7701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B022232-71E6-4C79-9094-AACAA8FE6B1E}" type="datetimeFigureOut">
              <a:rPr lang="zh-TW" altLang="en-US" smtClean="0"/>
              <a:t>2017/1/26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7F09FCF-93C6-49FE-A966-1FD8ACFFA2B4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81513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A31B6AE-79C5-4D4E-8295-0AB0E6D7696C}" type="datetimeFigureOut">
              <a:rPr lang="zh-TW" altLang="en-US" smtClean="0"/>
              <a:t>2017/1/26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2AD2085-224F-4090-A2D3-F21C9B4C31DF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18959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0756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3000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4213" y="1143000"/>
            <a:ext cx="54895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56329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59826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53760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4213" y="1143000"/>
            <a:ext cx="54895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012075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4213" y="1143000"/>
            <a:ext cx="54895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84207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862135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35684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135403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5207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icrosoft Build 20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763440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39638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4213" y="1143000"/>
            <a:ext cx="54895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6424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898373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292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4213" y="1143000"/>
            <a:ext cx="54895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37867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7930997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9464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24866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686431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6396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408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17 9:59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29708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486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255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8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.bin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2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8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4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6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7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1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4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9460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  <p:sp>
        <p:nvSpPr>
          <p:cNvPr id="4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5053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53205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797521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50206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880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1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2" y="6477874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192"/>
            <a:endParaRPr lang="en-US" sz="1765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pPr defTabSz="914192"/>
            <a:fld id="{6A4C1A4A-E5E6-4CC1-B72C-A20A4EB3E2D2}" type="slidenum">
              <a:rPr lang="en-US" sz="1765" smtClean="0">
                <a:solidFill>
                  <a:srgbClr val="505050"/>
                </a:solidFill>
              </a:rPr>
              <a:pPr defTabSz="914192"/>
              <a:t>‹#›</a:t>
            </a:fld>
            <a:endParaRPr lang="en-US" sz="1765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42847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1408580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and single">
    <p:bg>
      <p:bgPr>
        <a:gradFill>
          <a:gsLst>
            <a:gs pos="80000">
              <a:srgbClr val="002050"/>
            </a:gs>
            <a:gs pos="80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58885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8130631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/>
          <p:cNvSpPr>
            <a:spLocks noGrp="1"/>
          </p:cNvSpPr>
          <p:nvPr>
            <p:ph type="title"/>
          </p:nvPr>
        </p:nvSpPr>
        <p:spPr>
          <a:xfrm>
            <a:off x="623392" y="457797"/>
            <a:ext cx="10972800" cy="738957"/>
          </a:xfrm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528925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rgbClr val="0113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9" t="62936" r="32593" b="216"/>
          <a:stretch/>
        </p:blipFill>
        <p:spPr>
          <a:xfrm rot="10800000" flipH="1" flipV="1">
            <a:off x="0" y="-7784"/>
            <a:ext cx="12191999" cy="4482761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-7784"/>
            <a:ext cx="12192000" cy="4482762"/>
          </a:xfrm>
          <a:prstGeom prst="rect">
            <a:avLst/>
          </a:prstGeom>
          <a:gradFill flip="none" rotWithShape="1">
            <a:gsLst>
              <a:gs pos="0">
                <a:srgbClr val="011329"/>
              </a:gs>
              <a:gs pos="27000">
                <a:srgbClr val="001B35">
                  <a:alpha val="75000"/>
                </a:srgbClr>
              </a:gs>
              <a:gs pos="100000">
                <a:schemeClr val="bg2">
                  <a:alpha val="70000"/>
                </a:scheme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4474978"/>
            <a:ext cx="12192000" cy="1718390"/>
          </a:xfrm>
          <a:prstGeom prst="rect">
            <a:avLst/>
          </a:prstGeom>
          <a:solidFill>
            <a:srgbClr val="01132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463070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61964" y="188640"/>
            <a:ext cx="8544984" cy="865188"/>
          </a:xfrm>
        </p:spPr>
        <p:txBody>
          <a:bodyPr/>
          <a:lstStyle>
            <a:lvl1pPr>
              <a:defRPr i="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40645312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038194"/>
            <a:ext cx="11653523" cy="561290"/>
          </a:xfrm>
        </p:spPr>
        <p:txBody>
          <a:bodyPr/>
          <a:lstStyle>
            <a:lvl1pPr marL="0" indent="0">
              <a:buNone/>
              <a:defRPr sz="274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654756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9812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833541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340436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投影片編號版面配置區 5"/>
          <p:cNvSpPr txBox="1">
            <a:spLocks/>
          </p:cNvSpPr>
          <p:nvPr userDrawn="1"/>
        </p:nvSpPr>
        <p:spPr>
          <a:xfrm>
            <a:off x="1" y="6356352"/>
            <a:ext cx="424873" cy="499486"/>
          </a:xfrm>
          <a:prstGeom prst="rect">
            <a:avLst/>
          </a:prstGeom>
        </p:spPr>
        <p:txBody>
          <a:bodyPr vert="horz" lIns="91427" tIns="45713" rIns="91427" bIns="45713" rtlCol="0" anchor="ctr"/>
          <a:lstStyle>
            <a:defPPr>
              <a:defRPr lang="zh-TW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1BFAA-51EF-40D6-8910-41F466F7D8AC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602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397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>
          <p15:clr>
            <a:srgbClr val="5ACBF0"/>
          </p15:clr>
        </p15:guide>
        <p15:guide id="2" pos="895">
          <p15:clr>
            <a:srgbClr val="5ACBF0"/>
          </p15:clr>
        </p15:guide>
        <p15:guide id="3" pos="1663">
          <p15:clr>
            <a:srgbClr val="5ACBF0"/>
          </p15:clr>
        </p15:guide>
        <p15:guide id="4" pos="2431">
          <p15:clr>
            <a:srgbClr val="5ACBF0"/>
          </p15:clr>
        </p15:guide>
        <p15:guide id="5" pos="3199">
          <p15:clr>
            <a:srgbClr val="5ACBF0"/>
          </p15:clr>
        </p15:guide>
        <p15:guide id="6" pos="3967">
          <p15:clr>
            <a:srgbClr val="5ACBF0"/>
          </p15:clr>
        </p15:guide>
        <p15:guide id="7" pos="4735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0340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>
          <p15:clr>
            <a:srgbClr val="5ACBF0"/>
          </p15:clr>
        </p15:guide>
        <p15:guide id="2" pos="895">
          <p15:clr>
            <a:srgbClr val="5ACBF0"/>
          </p15:clr>
        </p15:guide>
        <p15:guide id="3" pos="1663">
          <p15:clr>
            <a:srgbClr val="5ACBF0"/>
          </p15:clr>
        </p15:guide>
        <p15:guide id="4" pos="2431">
          <p15:clr>
            <a:srgbClr val="5ACBF0"/>
          </p15:clr>
        </p15:guide>
        <p15:guide id="5" pos="3199">
          <p15:clr>
            <a:srgbClr val="5ACBF0"/>
          </p15:clr>
        </p15:guide>
        <p15:guide id="6" pos="3967">
          <p15:clr>
            <a:srgbClr val="5ACBF0"/>
          </p15:clr>
        </p15:guide>
        <p15:guide id="7" pos="4735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05000" y="6477876"/>
            <a:ext cx="8382000" cy="380127"/>
          </a:xfrm>
        </p:spPr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73308148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1200"/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19174589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4613639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3059905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3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9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99032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1767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2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3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353812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2959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631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586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444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9793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780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9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2775" spc="-45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1679938139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79" y="2901953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584533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144096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118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575877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00673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598228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55603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marL="0" marR="0" lvl="0" indent="0" algn="l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marL="0" marR="0" lvl="0" indent="0" algn="l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marL="0" marR="0" lvl="0" indent="0" algn="l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16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>
          <p15:clr>
            <a:srgbClr val="5ACBF0"/>
          </p15:clr>
        </p15:guide>
        <p15:guide id="2" pos="895">
          <p15:clr>
            <a:srgbClr val="5ACBF0"/>
          </p15:clr>
        </p15:guide>
        <p15:guide id="3" pos="1663">
          <p15:clr>
            <a:srgbClr val="5ACBF0"/>
          </p15:clr>
        </p15:guide>
        <p15:guide id="4" pos="2431">
          <p15:clr>
            <a:srgbClr val="5ACBF0"/>
          </p15:clr>
        </p15:guide>
        <p15:guide id="5" pos="3199">
          <p15:clr>
            <a:srgbClr val="5ACBF0"/>
          </p15:clr>
        </p15:guide>
        <p15:guide id="6" pos="3967">
          <p15:clr>
            <a:srgbClr val="5ACBF0"/>
          </p15:clr>
        </p15:guide>
        <p15:guide id="7" pos="4735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52355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>
          <p15:clr>
            <a:srgbClr val="5ACBF0"/>
          </p15:clr>
        </p15:guide>
        <p15:guide id="2" pos="895">
          <p15:clr>
            <a:srgbClr val="5ACBF0"/>
          </p15:clr>
        </p15:guide>
        <p15:guide id="3" pos="1663">
          <p15:clr>
            <a:srgbClr val="5ACBF0"/>
          </p15:clr>
        </p15:guide>
        <p15:guide id="4" pos="2431">
          <p15:clr>
            <a:srgbClr val="5ACBF0"/>
          </p15:clr>
        </p15:guide>
        <p15:guide id="5" pos="3199">
          <p15:clr>
            <a:srgbClr val="5ACBF0"/>
          </p15:clr>
        </p15:guide>
        <p15:guide id="6" pos="3967">
          <p15:clr>
            <a:srgbClr val="5ACBF0"/>
          </p15:clr>
        </p15:guide>
        <p15:guide id="7" pos="4735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05000" y="6477876"/>
            <a:ext cx="8382000" cy="380127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542519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575183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77684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596362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3568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3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9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78143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2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3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916977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1216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9223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66619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4300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0187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7638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9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2775" spc="-45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3737519746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marL="0" marR="0" lvl="0" indent="0" algn="ctr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marL="0" marR="0" lvl="0" indent="0" algn="ctr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marL="0" marR="0" lvl="0" indent="0" algn="ctr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marL="0" marR="0" lvl="0" indent="0" algn="ctr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marL="0" marR="0" lvl="0" indent="0" algn="ctr" defTabSz="8160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79" y="2901953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65412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9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2775" spc="-45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1369918217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353302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00121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991294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216598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733099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0340241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Non-bulleted text">
    <p:bg>
      <p:bgPr>
        <a:gradFill>
          <a:gsLst>
            <a:gs pos="80000">
              <a:srgbClr val="002050"/>
            </a:gs>
            <a:gs pos="80000">
              <a:schemeClr val="bg1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140896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Non-bulleted text">
    <p:bg>
      <p:bgPr>
        <a:gradFill>
          <a:gsLst>
            <a:gs pos="75000">
              <a:srgbClr val="002050"/>
            </a:gs>
            <a:gs pos="75000">
              <a:schemeClr val="bg1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5178" y="292610"/>
            <a:ext cx="4652556" cy="9398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0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zure </a:t>
            </a:r>
            <a:r>
              <a:rPr kumimoji="0" lang="en-US" sz="5398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oT</a:t>
            </a:r>
            <a:r>
              <a:rPr kumimoji="0" lang="en-US" sz="53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Suit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087103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39396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3523" cy="2052030"/>
          </a:xfrm>
        </p:spPr>
        <p:txBody>
          <a:bodyPr>
            <a:spAutoFit/>
          </a:bodyPr>
          <a:lstStyle>
            <a:lvl1pPr>
              <a:defRPr sz="391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524987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79" y="2901953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561121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3523" cy="2052030"/>
          </a:xfrm>
        </p:spPr>
        <p:txBody>
          <a:bodyPr>
            <a:spAutoFit/>
          </a:bodyPr>
          <a:lstStyle>
            <a:lvl1pPr>
              <a:defRPr sz="391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5711449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827875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545468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041497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977987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215069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>
          <a:gsLst>
            <a:gs pos="75000">
              <a:srgbClr val="002050"/>
            </a:gs>
            <a:gs pos="75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732130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211238"/>
            <a:ext cx="11655840" cy="899665"/>
          </a:xfrm>
        </p:spPr>
        <p:txBody>
          <a:bodyPr/>
          <a:lstStyle>
            <a:lvl1pPr>
              <a:defRPr sz="7054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4551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accent6"/>
                    </a:gs>
                    <a:gs pos="0">
                      <a:schemeClr val="accent6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0122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03247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08093744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95454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2091" y="2084173"/>
            <a:ext cx="8067823" cy="1793105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5880" spc="-98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698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-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2091" y="2084173"/>
            <a:ext cx="8067823" cy="1793105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5880" spc="-98" baseline="0">
                <a:gradFill>
                  <a:gsLst>
                    <a:gs pos="100000">
                      <a:schemeClr val="accent6"/>
                    </a:gs>
                    <a:gs pos="0">
                      <a:schemeClr val="accent6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699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65663" y="1203081"/>
            <a:ext cx="9860674" cy="896553"/>
          </a:xfrm>
        </p:spPr>
        <p:txBody>
          <a:bodyPr/>
          <a:lstStyle>
            <a:lvl1pPr marL="278457" indent="-278457">
              <a:defRPr sz="5880" baseline="0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89287"/>
            <a:ext cx="5378549" cy="1050156"/>
          </a:xfrm>
        </p:spPr>
        <p:txBody>
          <a:bodyPr/>
          <a:lstStyle>
            <a:lvl1pPr marL="0" indent="0">
              <a:buNone/>
              <a:defRPr sz="3135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  <a:lvl2pPr marL="336015" indent="0">
              <a:buNone/>
              <a:defRPr/>
            </a:lvl2pPr>
            <a:lvl3pPr marL="560027" indent="0">
              <a:buNone/>
              <a:defRPr/>
            </a:lvl3pPr>
            <a:lvl4pPr marL="784036" indent="0">
              <a:buNone/>
              <a:defRPr/>
            </a:lvl4pPr>
            <a:lvl5pPr marL="1008047" indent="0">
              <a:buNone/>
              <a:defRPr/>
            </a:lvl5pPr>
          </a:lstStyle>
          <a:p>
            <a:pPr lvl="0"/>
            <a:r>
              <a:rPr lang="en-US" dirty="0"/>
              <a:t>Author’s 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57722732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-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65663" y="2084175"/>
            <a:ext cx="9860674" cy="896553"/>
          </a:xfrm>
        </p:spPr>
        <p:txBody>
          <a:bodyPr/>
          <a:lstStyle>
            <a:lvl1pPr marL="169564" indent="-169564">
              <a:defRPr sz="588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“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89287"/>
            <a:ext cx="5378549" cy="1050156"/>
          </a:xfrm>
        </p:spPr>
        <p:txBody>
          <a:bodyPr/>
          <a:lstStyle>
            <a:lvl1pPr marL="0" indent="0">
              <a:buNone/>
              <a:defRPr sz="3135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  <a:lvl2pPr marL="336015" indent="0">
              <a:buNone/>
              <a:defRPr/>
            </a:lvl2pPr>
            <a:lvl3pPr marL="560027" indent="0">
              <a:buNone/>
              <a:defRPr/>
            </a:lvl3pPr>
            <a:lvl4pPr marL="784036" indent="0">
              <a:buNone/>
              <a:defRPr/>
            </a:lvl4pPr>
            <a:lvl5pPr marL="1008047" indent="0">
              <a:buNone/>
              <a:defRPr/>
            </a:lvl5pPr>
          </a:lstStyle>
          <a:p>
            <a:pPr lvl="0"/>
            <a:r>
              <a:rPr lang="en-US" dirty="0"/>
              <a:t>Author’s 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587217676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211238"/>
            <a:ext cx="11655840" cy="899665"/>
          </a:xfrm>
        </p:spPr>
        <p:txBody>
          <a:bodyPr/>
          <a:lstStyle>
            <a:lvl1pPr>
              <a:defRPr sz="7054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2411635"/>
            <a:ext cx="11653523" cy="914360"/>
          </a:xfrm>
        </p:spPr>
        <p:txBody>
          <a:bodyPr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9907689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709817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3945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0107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16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2398973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" tIns="45708" rIns="45708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4"/>
            <a:ext cx="11653522" cy="1956973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9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86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0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89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218345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7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578632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7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50207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559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199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3" y="6477874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016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pPr defTabSz="914016"/>
            <a:fld id="{6A4C1A4A-E5E6-4CC1-B72C-A20A4EB3E2D2}" type="slidenum">
              <a:rPr lang="en-US" smtClean="0">
                <a:solidFill>
                  <a:srgbClr val="505050"/>
                </a:solidFill>
              </a:rPr>
              <a:pPr defTabSz="914016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319033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IGHT BLUE 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0689"/>
            <a:ext cx="10971867" cy="533817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320" y="1417987"/>
            <a:ext cx="11356757" cy="1344507"/>
          </a:xfrm>
        </p:spPr>
        <p:txBody>
          <a:bodyPr tIns="91440" bIns="91440"/>
          <a:lstStyle>
            <a:lvl1pPr>
              <a:defRPr lang="en-US" sz="1800" kern="4000" spc="-100" baseline="0" dirty="0" smtClean="0">
                <a:gradFill flip="none" rotWithShape="1">
                  <a:gsLst>
                    <a:gs pos="0">
                      <a:schemeClr val="accent1"/>
                    </a:gs>
                    <a:gs pos="87000">
                      <a:schemeClr val="accent1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defRPr sz="18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01658" y="6492878"/>
            <a:ext cx="683172" cy="365125"/>
          </a:xfrm>
          <a:prstGeom prst="rect">
            <a:avLst/>
          </a:prstGeom>
        </p:spPr>
        <p:txBody>
          <a:bodyPr/>
          <a:lstStyle/>
          <a:p>
            <a:fld id="{4001CF26-38CB-4009-968C-54B3EF70152A}" type="slidenum">
              <a:rPr lang="en-US" smtClean="0">
                <a:solidFill>
                  <a:srgbClr val="DC3C00"/>
                </a:solidFill>
              </a:rPr>
              <a:pPr/>
              <a:t>‹#›</a:t>
            </a:fld>
            <a:endParaRPr lang="en-US">
              <a:solidFill>
                <a:srgbClr val="DC3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905414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413573"/>
      </p:ext>
    </p:extLst>
  </p:cSld>
  <p:clrMapOvr>
    <a:masterClrMapping/>
  </p:clrMapOvr>
  <p:transition spd="slow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67813"/>
            <a:ext cx="12203346" cy="735865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3358" y="211754"/>
            <a:ext cx="832104" cy="179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749652"/>
      </p:ext>
    </p:extLst>
  </p:cSld>
  <p:clrMapOvr>
    <a:masterClrMapping/>
  </p:clrMapOvr>
  <p:transition spd="slow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&amp;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527933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6" y="869950"/>
            <a:ext cx="10527237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2000"/>
              </a:lnSpc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99879801"/>
      </p:ext>
    </p:extLst>
  </p:cSld>
  <p:clrMapOvr>
    <a:masterClrMapping/>
  </p:clrMapOvr>
  <p:transition spd="slow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&amp;_Subtitle_&amp;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613658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7" y="869950"/>
            <a:ext cx="10612956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2000"/>
              </a:lnSpc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365375"/>
            <a:ext cx="12192000" cy="44926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281423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375304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632708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1" hasCustomPrompt="1"/>
          </p:nvPr>
        </p:nvSpPr>
        <p:spPr>
          <a:xfrm>
            <a:off x="349617" y="1600096"/>
            <a:ext cx="11387524" cy="452634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3000">
                <a:solidFill>
                  <a:srgbClr val="505050"/>
                </a:solidFill>
                <a:latin typeface="+mj-lt"/>
              </a:defRPr>
            </a:lvl1pPr>
            <a:lvl2pPr marL="448107" indent="0">
              <a:buFontTx/>
              <a:buNone/>
              <a:defRPr sz="2500">
                <a:solidFill>
                  <a:srgbClr val="505050"/>
                </a:solidFill>
                <a:latin typeface="+mj-lt"/>
              </a:defRPr>
            </a:lvl2pPr>
            <a:lvl3pPr marL="1120268" indent="-224054">
              <a:buFont typeface="Wingdings" charset="2"/>
              <a:buChar char="§"/>
              <a:defRPr sz="1800">
                <a:solidFill>
                  <a:srgbClr val="505050"/>
                </a:solidFill>
              </a:defRPr>
            </a:lvl3pPr>
            <a:lvl4pPr marL="1568375" indent="-224054">
              <a:buFont typeface="Arial"/>
              <a:buChar char="•"/>
              <a:defRPr sz="1600">
                <a:solidFill>
                  <a:srgbClr val="505050"/>
                </a:solidFill>
              </a:defRPr>
            </a:lvl4pPr>
            <a:lvl5pPr marL="2016482" indent="-224054">
              <a:buSzPct val="50000"/>
              <a:buFont typeface="Wingdings" charset="2"/>
              <a:buChar char=""/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6" y="869950"/>
            <a:ext cx="10632005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904335099"/>
      </p:ext>
    </p:extLst>
  </p:cSld>
  <p:clrMapOvr>
    <a:masterClrMapping/>
  </p:clrMapOvr>
  <p:transition spd="slow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613658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1" hasCustomPrompt="1"/>
          </p:nvPr>
        </p:nvSpPr>
        <p:spPr>
          <a:xfrm>
            <a:off x="349617" y="1600096"/>
            <a:ext cx="5465441" cy="452634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3000">
                <a:solidFill>
                  <a:srgbClr val="505050"/>
                </a:solidFill>
                <a:latin typeface="+mj-lt"/>
              </a:defRPr>
            </a:lvl1pPr>
            <a:lvl2pPr marL="448107" indent="0">
              <a:buFontTx/>
              <a:buNone/>
              <a:defRPr sz="2500">
                <a:solidFill>
                  <a:srgbClr val="505050"/>
                </a:solidFill>
                <a:latin typeface="+mj-lt"/>
              </a:defRPr>
            </a:lvl2pPr>
            <a:lvl3pPr marL="1120268" indent="-224054">
              <a:buFont typeface="Wingdings" charset="2"/>
              <a:buChar char="§"/>
              <a:defRPr sz="1800">
                <a:solidFill>
                  <a:srgbClr val="505050"/>
                </a:solidFill>
              </a:defRPr>
            </a:lvl3pPr>
            <a:lvl4pPr marL="1568375" indent="-224054">
              <a:buFont typeface="Arial"/>
              <a:buChar char="•"/>
              <a:defRPr sz="1600">
                <a:solidFill>
                  <a:srgbClr val="505050"/>
                </a:solidFill>
              </a:defRPr>
            </a:lvl4pPr>
            <a:lvl5pPr marL="2016482" indent="-224054">
              <a:buSzPct val="50000"/>
              <a:buFont typeface="Wingdings" charset="2"/>
              <a:buChar char=""/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7" y="869950"/>
            <a:ext cx="10612956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3" hasCustomPrompt="1"/>
          </p:nvPr>
        </p:nvSpPr>
        <p:spPr>
          <a:xfrm>
            <a:off x="6271701" y="1600096"/>
            <a:ext cx="5465441" cy="452634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3000">
                <a:solidFill>
                  <a:srgbClr val="505050"/>
                </a:solidFill>
                <a:latin typeface="+mj-lt"/>
              </a:defRPr>
            </a:lvl1pPr>
            <a:lvl2pPr marL="448107" indent="0">
              <a:buFontTx/>
              <a:buNone/>
              <a:defRPr sz="2500">
                <a:solidFill>
                  <a:srgbClr val="505050"/>
                </a:solidFill>
                <a:latin typeface="+mj-lt"/>
              </a:defRPr>
            </a:lvl2pPr>
            <a:lvl3pPr marL="1120268" indent="-224054">
              <a:buFont typeface="Wingdings" charset="2"/>
              <a:buChar char="§"/>
              <a:defRPr sz="1800">
                <a:solidFill>
                  <a:srgbClr val="505050"/>
                </a:solidFill>
              </a:defRPr>
            </a:lvl3pPr>
            <a:lvl4pPr marL="1568375" indent="-224054">
              <a:buFont typeface="Arial"/>
              <a:buChar char="•"/>
              <a:defRPr sz="1600">
                <a:solidFill>
                  <a:srgbClr val="505050"/>
                </a:solidFill>
              </a:defRPr>
            </a:lvl4pPr>
            <a:lvl5pPr marL="2016482" indent="-224054">
              <a:buSzPct val="50000"/>
              <a:buFont typeface="Wingdings" charset="2"/>
              <a:buChar char=""/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30956"/>
      </p:ext>
    </p:extLst>
  </p:cSld>
  <p:clrMapOvr>
    <a:masterClrMapping/>
  </p:clrMapOvr>
  <p:transition spd="slow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2"/>
          <p:cNvSpPr>
            <a:spLocks noGrp="1"/>
          </p:cNvSpPr>
          <p:nvPr>
            <p:ph idx="11" hasCustomPrompt="1"/>
          </p:nvPr>
        </p:nvSpPr>
        <p:spPr>
          <a:xfrm>
            <a:off x="349303" y="1691932"/>
            <a:ext cx="4756373" cy="4755792"/>
          </a:xfrm>
          <a:prstGeom prst="rect">
            <a:avLst/>
          </a:prstGeom>
          <a:solidFill>
            <a:schemeClr val="bg1"/>
          </a:solidFill>
        </p:spPr>
        <p:txBody>
          <a:bodyPr lIns="182880" tIns="182880">
            <a:normAutofit/>
          </a:bodyPr>
          <a:lstStyle>
            <a:lvl1pPr>
              <a:defRPr/>
            </a:lvl1pPr>
          </a:lstStyle>
          <a:p>
            <a:r>
              <a:rPr lang="en-US" sz="3000" i="1" dirty="0">
                <a:latin typeface="+mj-lt"/>
              </a:rPr>
              <a:t>“Quote here”</a:t>
            </a:r>
            <a:endParaRPr lang="en-US" sz="3000" dirty="0">
              <a:latin typeface="+mj-lt"/>
            </a:endParaRPr>
          </a:p>
          <a:p>
            <a:endParaRPr lang="en-US" sz="3000" dirty="0">
              <a:latin typeface="+mj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59689" y="3048000"/>
            <a:ext cx="4296681" cy="5508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5105676" y="3736274"/>
            <a:ext cx="2711450" cy="2711450"/>
          </a:xfrm>
          <a:prstGeom prst="rect">
            <a:avLst/>
          </a:prstGeom>
          <a:solidFill>
            <a:schemeClr val="tx2"/>
          </a:solidFill>
        </p:spPr>
        <p:txBody>
          <a:bodyPr lIns="274320" tIns="182880" rIns="274320">
            <a:normAutofit/>
          </a:bodyPr>
          <a:lstStyle>
            <a:lvl1pPr>
              <a:defRPr sz="2000">
                <a:solidFill>
                  <a:srgbClr val="FFFFFF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/>
              <a:t>Content her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585083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49616" y="869950"/>
            <a:ext cx="10584383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82062835"/>
      </p:ext>
    </p:extLst>
  </p:cSld>
  <p:clrMapOvr>
    <a:masterClrMapping/>
  </p:clrMapOvr>
  <p:transition spd="slow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_pic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0219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386621" y="869950"/>
            <a:ext cx="5575951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386955" y="135554"/>
            <a:ext cx="5576320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84800" y="1407221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7074054" y="1407221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8763308" y="1407221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5384800" y="3089108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7074054" y="3089108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8763308" y="3089108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5384800" y="4770995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074054" y="4770995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8763308" y="4770995"/>
            <a:ext cx="1544600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547564"/>
      </p:ext>
    </p:extLst>
  </p:cSld>
  <p:clrMapOvr>
    <a:masterClrMapping/>
  </p:clrMapOvr>
  <p:transition spd="slow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3496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55" hasCustomPrompt="1"/>
          </p:nvPr>
        </p:nvSpPr>
        <p:spPr>
          <a:xfrm>
            <a:off x="349616" y="5133975"/>
            <a:ext cx="2705100" cy="12668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3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56"/>
          </p:nvPr>
        </p:nvSpPr>
        <p:spPr>
          <a:xfrm>
            <a:off x="3496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32325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58" hasCustomPrompt="1"/>
          </p:nvPr>
        </p:nvSpPr>
        <p:spPr>
          <a:xfrm>
            <a:off x="3232516" y="5133975"/>
            <a:ext cx="2705100" cy="12668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3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59"/>
          </p:nvPr>
        </p:nvSpPr>
        <p:spPr>
          <a:xfrm>
            <a:off x="32325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61154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6115416" y="5133975"/>
            <a:ext cx="2705100" cy="12668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3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62"/>
          </p:nvPr>
        </p:nvSpPr>
        <p:spPr>
          <a:xfrm>
            <a:off x="61154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89983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8998316" y="5133975"/>
            <a:ext cx="2705100" cy="12668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3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65"/>
          </p:nvPr>
        </p:nvSpPr>
        <p:spPr>
          <a:xfrm>
            <a:off x="89983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585083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49616" y="869950"/>
            <a:ext cx="10584383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06165772"/>
      </p:ext>
    </p:extLst>
  </p:cSld>
  <p:clrMapOvr>
    <a:masterClrMapping/>
  </p:clrMapOvr>
  <p:transition spd="slow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and 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3496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55" hasCustomPrompt="1"/>
          </p:nvPr>
        </p:nvSpPr>
        <p:spPr>
          <a:xfrm>
            <a:off x="349616" y="5334000"/>
            <a:ext cx="11353800" cy="10668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3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56"/>
          </p:nvPr>
        </p:nvSpPr>
        <p:spPr>
          <a:xfrm>
            <a:off x="3496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32325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59"/>
          </p:nvPr>
        </p:nvSpPr>
        <p:spPr>
          <a:xfrm>
            <a:off x="32325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61154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62"/>
          </p:nvPr>
        </p:nvSpPr>
        <p:spPr>
          <a:xfrm>
            <a:off x="61154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8998316" y="1807556"/>
            <a:ext cx="2705100" cy="6208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65"/>
          </p:nvPr>
        </p:nvSpPr>
        <p:spPr>
          <a:xfrm>
            <a:off x="8998316" y="2428875"/>
            <a:ext cx="2705100" cy="2705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585083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49616" y="869950"/>
            <a:ext cx="10584383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969779336"/>
      </p:ext>
    </p:extLst>
  </p:cSld>
  <p:clrMapOvr>
    <a:masterClrMapping/>
  </p:clrMapOvr>
  <p:transition spd="slow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les_pic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201710" y="1731357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201710" y="2161325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149131" y="1731357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8149131" y="2161325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6" y="869950"/>
            <a:ext cx="10613661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6" y="135554"/>
            <a:ext cx="10613659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0" name="Text Placeholder 4"/>
          <p:cNvSpPr>
            <a:spLocks noGrp="1"/>
          </p:cNvSpPr>
          <p:nvPr>
            <p:ph type="body" sz="quarter" idx="48" hasCustomPrompt="1"/>
          </p:nvPr>
        </p:nvSpPr>
        <p:spPr>
          <a:xfrm>
            <a:off x="6201710" y="3828604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1" name="Text Placeholder 4"/>
          <p:cNvSpPr>
            <a:spLocks noGrp="1"/>
          </p:cNvSpPr>
          <p:nvPr>
            <p:ph type="body" sz="quarter" idx="49" hasCustomPrompt="1"/>
          </p:nvPr>
        </p:nvSpPr>
        <p:spPr>
          <a:xfrm>
            <a:off x="6201710" y="4258572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2" name="Text Placeholder 4"/>
          <p:cNvSpPr>
            <a:spLocks noGrp="1"/>
          </p:cNvSpPr>
          <p:nvPr>
            <p:ph type="body" sz="quarter" idx="50" hasCustomPrompt="1"/>
          </p:nvPr>
        </p:nvSpPr>
        <p:spPr>
          <a:xfrm>
            <a:off x="8149131" y="3828604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3" name="Text Placeholder 4"/>
          <p:cNvSpPr>
            <a:spLocks noGrp="1"/>
          </p:cNvSpPr>
          <p:nvPr>
            <p:ph type="body" sz="quarter" idx="51" hasCustomPrompt="1"/>
          </p:nvPr>
        </p:nvSpPr>
        <p:spPr>
          <a:xfrm>
            <a:off x="8149131" y="4258572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6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349616" y="1731357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7" name="Text Placeholder 4"/>
          <p:cNvSpPr>
            <a:spLocks noGrp="1"/>
          </p:cNvSpPr>
          <p:nvPr>
            <p:ph type="body" sz="quarter" idx="55" hasCustomPrompt="1"/>
          </p:nvPr>
        </p:nvSpPr>
        <p:spPr>
          <a:xfrm>
            <a:off x="349616" y="2161325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68" name="Text Placeholder 4"/>
          <p:cNvSpPr>
            <a:spLocks noGrp="1"/>
          </p:cNvSpPr>
          <p:nvPr>
            <p:ph type="body" sz="quarter" idx="56" hasCustomPrompt="1"/>
          </p:nvPr>
        </p:nvSpPr>
        <p:spPr>
          <a:xfrm>
            <a:off x="2306869" y="1731357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9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306869" y="2161325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70" name="Text Placeholder 4"/>
          <p:cNvSpPr>
            <a:spLocks noGrp="1"/>
          </p:cNvSpPr>
          <p:nvPr>
            <p:ph type="body" sz="quarter" idx="58" hasCustomPrompt="1"/>
          </p:nvPr>
        </p:nvSpPr>
        <p:spPr>
          <a:xfrm>
            <a:off x="4254289" y="1731357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1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4254289" y="2161325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72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349616" y="3828604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3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349616" y="4258572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74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2306869" y="3828604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5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306869" y="4258572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76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4254289" y="3828604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7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4254289" y="4258572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2" name="Text Placeholder 4"/>
          <p:cNvSpPr>
            <a:spLocks noGrp="1"/>
          </p:cNvSpPr>
          <p:nvPr>
            <p:ph type="body" sz="quarter" idx="66" hasCustomPrompt="1"/>
          </p:nvPr>
        </p:nvSpPr>
        <p:spPr>
          <a:xfrm>
            <a:off x="10096552" y="1731357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3" name="Text Placeholder 4"/>
          <p:cNvSpPr>
            <a:spLocks noGrp="1"/>
          </p:cNvSpPr>
          <p:nvPr>
            <p:ph type="body" sz="quarter" idx="67" hasCustomPrompt="1"/>
          </p:nvPr>
        </p:nvSpPr>
        <p:spPr>
          <a:xfrm>
            <a:off x="10096552" y="2161325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84" name="Text Placeholder 4"/>
          <p:cNvSpPr>
            <a:spLocks noGrp="1"/>
          </p:cNvSpPr>
          <p:nvPr>
            <p:ph type="body" sz="quarter" idx="68" hasCustomPrompt="1"/>
          </p:nvPr>
        </p:nvSpPr>
        <p:spPr>
          <a:xfrm>
            <a:off x="10096552" y="3828604"/>
            <a:ext cx="1873468" cy="42996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5" name="Text Placeholder 4"/>
          <p:cNvSpPr>
            <a:spLocks noGrp="1"/>
          </p:cNvSpPr>
          <p:nvPr>
            <p:ph type="body" sz="quarter" idx="69" hasCustomPrompt="1"/>
          </p:nvPr>
        </p:nvSpPr>
        <p:spPr>
          <a:xfrm>
            <a:off x="10096552" y="4258572"/>
            <a:ext cx="1873468" cy="15446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10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811950730"/>
      </p:ext>
    </p:extLst>
  </p:cSld>
  <p:clrMapOvr>
    <a:masterClrMapping/>
  </p:clrMapOvr>
  <p:transition spd="slow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les_pic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9124" y="135554"/>
            <a:ext cx="9905576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72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156666" y="962690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3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156666" y="1308414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666" y="128873"/>
            <a:ext cx="749345" cy="737450"/>
          </a:xfrm>
          <a:prstGeom prst="rect">
            <a:avLst/>
          </a:prstGeom>
        </p:spPr>
      </p:pic>
      <p:sp>
        <p:nvSpPr>
          <p:cNvPr id="116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2539139" y="962690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539139" y="1308414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18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4921612" y="962690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9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4921612" y="1308414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20" name="Text Placeholder 4"/>
          <p:cNvSpPr>
            <a:spLocks noGrp="1"/>
          </p:cNvSpPr>
          <p:nvPr>
            <p:ph type="body" sz="quarter" idx="66" hasCustomPrompt="1"/>
          </p:nvPr>
        </p:nvSpPr>
        <p:spPr>
          <a:xfrm>
            <a:off x="7304085" y="962690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1" name="Text Placeholder 4"/>
          <p:cNvSpPr>
            <a:spLocks noGrp="1"/>
          </p:cNvSpPr>
          <p:nvPr>
            <p:ph type="body" sz="quarter" idx="67" hasCustomPrompt="1"/>
          </p:nvPr>
        </p:nvSpPr>
        <p:spPr>
          <a:xfrm>
            <a:off x="7304085" y="1308414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68" hasCustomPrompt="1"/>
          </p:nvPr>
        </p:nvSpPr>
        <p:spPr>
          <a:xfrm>
            <a:off x="9686558" y="962690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3" name="Text Placeholder 4"/>
          <p:cNvSpPr>
            <a:spLocks noGrp="1"/>
          </p:cNvSpPr>
          <p:nvPr>
            <p:ph type="body" sz="quarter" idx="69" hasCustomPrompt="1"/>
          </p:nvPr>
        </p:nvSpPr>
        <p:spPr>
          <a:xfrm>
            <a:off x="9686558" y="1308414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24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156666" y="2909477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5" name="Text Placeholder 4"/>
          <p:cNvSpPr>
            <a:spLocks noGrp="1"/>
          </p:cNvSpPr>
          <p:nvPr>
            <p:ph type="body" sz="quarter" idx="71" hasCustomPrompt="1"/>
          </p:nvPr>
        </p:nvSpPr>
        <p:spPr>
          <a:xfrm>
            <a:off x="156666" y="3255201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26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2539139" y="2909477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7" name="Text Placeholder 4"/>
          <p:cNvSpPr>
            <a:spLocks noGrp="1"/>
          </p:cNvSpPr>
          <p:nvPr>
            <p:ph type="body" sz="quarter" idx="73" hasCustomPrompt="1"/>
          </p:nvPr>
        </p:nvSpPr>
        <p:spPr>
          <a:xfrm>
            <a:off x="2539139" y="3255201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74" hasCustomPrompt="1"/>
          </p:nvPr>
        </p:nvSpPr>
        <p:spPr>
          <a:xfrm>
            <a:off x="4921612" y="2909477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9" name="Text Placeholder 4"/>
          <p:cNvSpPr>
            <a:spLocks noGrp="1"/>
          </p:cNvSpPr>
          <p:nvPr>
            <p:ph type="body" sz="quarter" idx="75" hasCustomPrompt="1"/>
          </p:nvPr>
        </p:nvSpPr>
        <p:spPr>
          <a:xfrm>
            <a:off x="4921612" y="3255201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30" name="Text Placeholder 4"/>
          <p:cNvSpPr>
            <a:spLocks noGrp="1"/>
          </p:cNvSpPr>
          <p:nvPr>
            <p:ph type="body" sz="quarter" idx="76" hasCustomPrompt="1"/>
          </p:nvPr>
        </p:nvSpPr>
        <p:spPr>
          <a:xfrm>
            <a:off x="7304085" y="2909477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1" name="Text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7304085" y="3255201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78" hasCustomPrompt="1"/>
          </p:nvPr>
        </p:nvSpPr>
        <p:spPr>
          <a:xfrm>
            <a:off x="9686558" y="2909477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3" name="Text Placeholder 4"/>
          <p:cNvSpPr>
            <a:spLocks noGrp="1"/>
          </p:cNvSpPr>
          <p:nvPr>
            <p:ph type="body" sz="quarter" idx="79" hasCustomPrompt="1"/>
          </p:nvPr>
        </p:nvSpPr>
        <p:spPr>
          <a:xfrm>
            <a:off x="9686558" y="3255201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34" name="Text Placeholder 4"/>
          <p:cNvSpPr>
            <a:spLocks noGrp="1"/>
          </p:cNvSpPr>
          <p:nvPr>
            <p:ph type="body" sz="quarter" idx="80" hasCustomPrompt="1"/>
          </p:nvPr>
        </p:nvSpPr>
        <p:spPr>
          <a:xfrm>
            <a:off x="156666" y="4856264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5" name="Text Placeholder 4"/>
          <p:cNvSpPr>
            <a:spLocks noGrp="1"/>
          </p:cNvSpPr>
          <p:nvPr>
            <p:ph type="body" sz="quarter" idx="81" hasCustomPrompt="1"/>
          </p:nvPr>
        </p:nvSpPr>
        <p:spPr>
          <a:xfrm>
            <a:off x="156666" y="5201988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36" name="Text Placeholder 4"/>
          <p:cNvSpPr>
            <a:spLocks noGrp="1"/>
          </p:cNvSpPr>
          <p:nvPr>
            <p:ph type="body" sz="quarter" idx="82" hasCustomPrompt="1"/>
          </p:nvPr>
        </p:nvSpPr>
        <p:spPr>
          <a:xfrm>
            <a:off x="2539139" y="4856264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7" name="Text Placeholder 4"/>
          <p:cNvSpPr>
            <a:spLocks noGrp="1"/>
          </p:cNvSpPr>
          <p:nvPr>
            <p:ph type="body" sz="quarter" idx="83" hasCustomPrompt="1"/>
          </p:nvPr>
        </p:nvSpPr>
        <p:spPr>
          <a:xfrm>
            <a:off x="2539139" y="5201988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38" name="Text Placeholder 4"/>
          <p:cNvSpPr>
            <a:spLocks noGrp="1"/>
          </p:cNvSpPr>
          <p:nvPr>
            <p:ph type="body" sz="quarter" idx="84" hasCustomPrompt="1"/>
          </p:nvPr>
        </p:nvSpPr>
        <p:spPr>
          <a:xfrm>
            <a:off x="4921612" y="4856264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9" name="Text Placeholder 4"/>
          <p:cNvSpPr>
            <a:spLocks noGrp="1"/>
          </p:cNvSpPr>
          <p:nvPr>
            <p:ph type="body" sz="quarter" idx="85" hasCustomPrompt="1"/>
          </p:nvPr>
        </p:nvSpPr>
        <p:spPr>
          <a:xfrm>
            <a:off x="4921612" y="5201988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40" name="Text Placeholder 4"/>
          <p:cNvSpPr>
            <a:spLocks noGrp="1"/>
          </p:cNvSpPr>
          <p:nvPr>
            <p:ph type="body" sz="quarter" idx="86" hasCustomPrompt="1"/>
          </p:nvPr>
        </p:nvSpPr>
        <p:spPr>
          <a:xfrm>
            <a:off x="7304085" y="4856264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1" name="Text Placeholder 4"/>
          <p:cNvSpPr>
            <a:spLocks noGrp="1"/>
          </p:cNvSpPr>
          <p:nvPr>
            <p:ph type="body" sz="quarter" idx="87" hasCustomPrompt="1"/>
          </p:nvPr>
        </p:nvSpPr>
        <p:spPr>
          <a:xfrm>
            <a:off x="7304085" y="5201988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42" name="Text Placeholder 4"/>
          <p:cNvSpPr>
            <a:spLocks noGrp="1"/>
          </p:cNvSpPr>
          <p:nvPr>
            <p:ph type="body" sz="quarter" idx="88" hasCustomPrompt="1"/>
          </p:nvPr>
        </p:nvSpPr>
        <p:spPr>
          <a:xfrm>
            <a:off x="9686558" y="4856264"/>
            <a:ext cx="2334864" cy="34572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3" name="Text Placeholder 4"/>
          <p:cNvSpPr>
            <a:spLocks noGrp="1"/>
          </p:cNvSpPr>
          <p:nvPr>
            <p:ph type="body" sz="quarter" idx="89" hasCustomPrompt="1"/>
          </p:nvPr>
        </p:nvSpPr>
        <p:spPr>
          <a:xfrm>
            <a:off x="9686558" y="5201988"/>
            <a:ext cx="2334864" cy="15260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sz="9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920290068"/>
      </p:ext>
    </p:extLst>
  </p:cSld>
  <p:clrMapOvr>
    <a:masterClrMapping/>
  </p:clrMapOvr>
  <p:transition spd="slow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7998" y="3901496"/>
            <a:ext cx="3439620" cy="245333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lang="en-US" sz="2000" smtClean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z="2000" dirty="0">
                <a:solidFill>
                  <a:schemeClr val="bg1"/>
                </a:solidFill>
                <a:latin typeface="+mj-lt"/>
              </a:rPr>
              <a:t>“Insert quote here”</a:t>
            </a:r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0219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9139691" y="3901497"/>
            <a:ext cx="2596696" cy="245333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>
            <a:noAutofit/>
          </a:bodyPr>
          <a:lstStyle>
            <a:lvl1pPr marL="0" indent="0" algn="l" defTabSz="896214" rtl="0" eaLnBrk="1" latinLnBrk="0" hangingPunct="1">
              <a:spcBef>
                <a:spcPct val="20000"/>
              </a:spcBef>
              <a:buFontTx/>
              <a:buNone/>
              <a:defRPr sz="30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62457" indent="-514350" algn="l" defTabSz="896214" rtl="0" eaLnBrk="1" latinLnBrk="0" hangingPunct="1">
              <a:spcBef>
                <a:spcPct val="20000"/>
              </a:spcBef>
              <a:buFont typeface="+mj-lt"/>
              <a:buAutoNum type="arabicPeriod"/>
              <a:defRPr sz="28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120268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568375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2016482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464589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97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804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911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1" name="Isosceles Triangle 20"/>
          <p:cNvSpPr/>
          <p:nvPr userDrawn="1"/>
        </p:nvSpPr>
        <p:spPr>
          <a:xfrm rot="16200000">
            <a:off x="4301944" y="4938781"/>
            <a:ext cx="2452545" cy="379563"/>
          </a:xfrm>
          <a:prstGeom prst="triangle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386621" y="869950"/>
            <a:ext cx="5575951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marL="0" marR="0" lvl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386955" y="135554"/>
            <a:ext cx="5576320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51586311"/>
      </p:ext>
    </p:extLst>
  </p:cSld>
  <p:clrMapOvr>
    <a:masterClrMapping/>
  </p:clrMapOvr>
  <p:transition spd="slow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25890" y="3901496"/>
            <a:ext cx="3439620" cy="245333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 lang="en-US" sz="2000" smtClean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z="2000" dirty="0">
                <a:solidFill>
                  <a:schemeClr val="bg1"/>
                </a:solidFill>
                <a:latin typeface="+mj-lt"/>
              </a:rPr>
              <a:t>“Insert quote here”</a:t>
            </a:r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495307" y="3901497"/>
            <a:ext cx="2596696" cy="245333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>
            <a:noAutofit/>
          </a:bodyPr>
          <a:lstStyle>
            <a:lvl1pPr marL="0" indent="0" algn="l" defTabSz="896214" rtl="0" eaLnBrk="1" latinLnBrk="0" hangingPunct="1">
              <a:spcBef>
                <a:spcPct val="20000"/>
              </a:spcBef>
              <a:buFontTx/>
              <a:buNone/>
              <a:defRPr sz="30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62457" indent="-514350" algn="l" defTabSz="896214" rtl="0" eaLnBrk="1" latinLnBrk="0" hangingPunct="1">
              <a:spcBef>
                <a:spcPct val="20000"/>
              </a:spcBef>
              <a:buFont typeface="+mj-lt"/>
              <a:buAutoNum type="arabicPeriod"/>
              <a:defRPr sz="28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120268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568375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2016482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bg2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464589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697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804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911" indent="-224054" algn="l" defTabSz="8962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1" name="Isosceles Triangle 20"/>
          <p:cNvSpPr/>
          <p:nvPr userDrawn="1"/>
        </p:nvSpPr>
        <p:spPr>
          <a:xfrm rot="5400000">
            <a:off x="5429019" y="4938781"/>
            <a:ext cx="2452545" cy="379563"/>
          </a:xfrm>
          <a:prstGeom prst="triangle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170057" y="0"/>
            <a:ext cx="50219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6" y="869950"/>
            <a:ext cx="6495457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6495456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67751518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409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0604323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_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170057" y="0"/>
            <a:ext cx="50219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6" y="869950"/>
            <a:ext cx="6495457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6495456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95721306"/>
      </p:ext>
    </p:extLst>
  </p:cSld>
  <p:clrMapOvr>
    <a:masterClrMapping/>
  </p:clrMapOvr>
  <p:transition spd="slow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les_pic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5021943" cy="6858000"/>
          </a:xfrm>
          <a:prstGeom prst="rect">
            <a:avLst/>
          </a:prstGeom>
        </p:spPr>
        <p:txBody>
          <a:bodyPr/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lvl="0"/>
            <a:r>
              <a:rPr lang="en-US" dirty="0"/>
              <a:t>Subtitle</a:t>
            </a:r>
          </a:p>
          <a:p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386621" y="869950"/>
            <a:ext cx="5575951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marL="0" marR="0" lvl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386955" y="135554"/>
            <a:ext cx="5576320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125002"/>
      </p:ext>
    </p:extLst>
  </p:cSld>
  <p:clrMapOvr>
    <a:masterClrMapping/>
  </p:clrMapOvr>
  <p:transition spd="slow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les_pic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5021943" cy="6858000"/>
          </a:xfrm>
          <a:prstGeom prst="rect">
            <a:avLst/>
          </a:prstGeom>
        </p:spPr>
        <p:txBody>
          <a:bodyPr/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lvl="0"/>
            <a:r>
              <a:rPr lang="en-US" dirty="0"/>
              <a:t>Subtitle</a:t>
            </a:r>
          </a:p>
          <a:p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81485" y="869950"/>
            <a:ext cx="4881087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marL="0" marR="0" lvl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81485" y="135554"/>
            <a:ext cx="4881789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260493" y="135554"/>
            <a:ext cx="694944" cy="69494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260493" y="2975165"/>
            <a:ext cx="3157793" cy="3628836"/>
          </a:xfrm>
          <a:prstGeom prst="rect">
            <a:avLst/>
          </a:prstGeom>
        </p:spPr>
        <p:txBody>
          <a:bodyPr lIns="0" tIns="0" rIns="0"/>
          <a:lstStyle>
            <a:lvl1pPr>
              <a:lnSpc>
                <a:spcPts val="2800"/>
              </a:lnSpc>
              <a:spcBef>
                <a:spcPts val="0"/>
              </a:spcBef>
              <a:defRPr lang="en-US" sz="1800" dirty="0">
                <a:solidFill>
                  <a:srgbClr val="505050"/>
                </a:solidFill>
              </a:defRPr>
            </a:lvl1pPr>
          </a:lstStyle>
          <a:p>
            <a:r>
              <a:rPr lang="en-US" sz="1600" dirty="0">
                <a:solidFill>
                  <a:srgbClr val="505050"/>
                </a:solidFill>
                <a:latin typeface="+mn-lt"/>
              </a:rPr>
              <a:t>Content</a:t>
            </a:r>
          </a:p>
        </p:txBody>
      </p:sp>
      <p:sp>
        <p:nvSpPr>
          <p:cNvPr id="12" name="Title Placeholder 1"/>
          <p:cNvSpPr txBox="1">
            <a:spLocks/>
          </p:cNvSpPr>
          <p:nvPr userDrawn="1"/>
        </p:nvSpPr>
        <p:spPr>
          <a:xfrm>
            <a:off x="5260493" y="1867413"/>
            <a:ext cx="3157793" cy="151442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896214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Segoe UI Light" pitchFamily="34" charset="0"/>
                <a:ea typeface="+mj-ea"/>
                <a:cs typeface="+mj-cs"/>
              </a:defRPr>
            </a:lvl1pPr>
          </a:lstStyle>
          <a:p>
            <a:endParaRPr lang="en-US" sz="3000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260494" y="1867413"/>
            <a:ext cx="3157792" cy="1107751"/>
          </a:xfrm>
          <a:prstGeom prst="rect">
            <a:avLst/>
          </a:prstGeom>
        </p:spPr>
        <p:txBody>
          <a:bodyPr lIns="0" tIns="0" rIns="0"/>
          <a:lstStyle>
            <a:lvl1pPr>
              <a:defRPr lang="en-US" sz="3000" dirty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8656837" y="1867413"/>
            <a:ext cx="3157792" cy="1107751"/>
          </a:xfrm>
          <a:prstGeom prst="rect">
            <a:avLst/>
          </a:prstGeom>
        </p:spPr>
        <p:txBody>
          <a:bodyPr lIns="0" tIns="0" rIns="0"/>
          <a:lstStyle>
            <a:lvl1pPr>
              <a:defRPr lang="en-US" sz="3000" dirty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8656836" y="2975165"/>
            <a:ext cx="3157793" cy="3628836"/>
          </a:xfrm>
          <a:prstGeom prst="rect">
            <a:avLst/>
          </a:prstGeom>
        </p:spPr>
        <p:txBody>
          <a:bodyPr lIns="0" tIns="0" rIns="0"/>
          <a:lstStyle>
            <a:lvl1pPr>
              <a:lnSpc>
                <a:spcPts val="2800"/>
              </a:lnSpc>
              <a:spcBef>
                <a:spcPts val="0"/>
              </a:spcBef>
              <a:defRPr lang="en-US" sz="1800" dirty="0">
                <a:solidFill>
                  <a:srgbClr val="505050"/>
                </a:solidFill>
              </a:defRPr>
            </a:lvl1pPr>
          </a:lstStyle>
          <a:p>
            <a:r>
              <a:rPr lang="en-US" sz="1600" dirty="0">
                <a:solidFill>
                  <a:srgbClr val="505050"/>
                </a:solidFill>
                <a:latin typeface="+mn-lt"/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838031681"/>
      </p:ext>
    </p:extLst>
  </p:cSld>
  <p:clrMapOvr>
    <a:masterClrMapping/>
  </p:clrMapOvr>
  <p:transition spd="slow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les_pic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5021943" cy="6858000"/>
          </a:xfrm>
          <a:prstGeom prst="rect">
            <a:avLst/>
          </a:prstGeom>
        </p:spPr>
        <p:txBody>
          <a:bodyPr/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lvl="0"/>
            <a:r>
              <a:rPr lang="en-US" dirty="0"/>
              <a:t>Subtitle</a:t>
            </a:r>
          </a:p>
          <a:p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81485" y="869950"/>
            <a:ext cx="4881087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marL="0" marR="0" lvl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81485" y="135554"/>
            <a:ext cx="4881789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260493" y="135554"/>
            <a:ext cx="694944" cy="69494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/>
          <p:cNvSpPr txBox="1">
            <a:spLocks/>
          </p:cNvSpPr>
          <p:nvPr userDrawn="1"/>
        </p:nvSpPr>
        <p:spPr>
          <a:xfrm>
            <a:off x="5260493" y="1867413"/>
            <a:ext cx="3157793" cy="151442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896214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Segoe UI Light" pitchFamily="34" charset="0"/>
                <a:ea typeface="+mj-ea"/>
                <a:cs typeface="+mj-cs"/>
              </a:defRPr>
            </a:lvl1pPr>
          </a:lstStyle>
          <a:p>
            <a:endParaRPr lang="en-US" sz="3000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260494" y="1867413"/>
            <a:ext cx="3157792" cy="1107751"/>
          </a:xfrm>
          <a:prstGeom prst="rect">
            <a:avLst/>
          </a:prstGeom>
        </p:spPr>
        <p:txBody>
          <a:bodyPr lIns="0" tIns="0" rIns="0"/>
          <a:lstStyle>
            <a:lvl1pPr>
              <a:defRPr lang="en-US" sz="3000" dirty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8656837" y="1867413"/>
            <a:ext cx="3157792" cy="1107751"/>
          </a:xfrm>
          <a:prstGeom prst="rect">
            <a:avLst/>
          </a:prstGeom>
        </p:spPr>
        <p:txBody>
          <a:bodyPr lIns="0" tIns="0" rIns="0"/>
          <a:lstStyle>
            <a:lvl1pPr>
              <a:defRPr lang="en-US" sz="3000" dirty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260748" y="3002556"/>
            <a:ext cx="3311752" cy="607420"/>
          </a:xfrm>
          <a:custGeom>
            <a:avLst/>
            <a:gdLst>
              <a:gd name="connsiteX0" fmla="*/ 0 w 3157538"/>
              <a:gd name="connsiteY0" fmla="*/ 0 h 607420"/>
              <a:gd name="connsiteX1" fmla="*/ 3157538 w 3157538"/>
              <a:gd name="connsiteY1" fmla="*/ 0 h 607420"/>
              <a:gd name="connsiteX2" fmla="*/ 3157538 w 3157538"/>
              <a:gd name="connsiteY2" fmla="*/ 607420 h 607420"/>
              <a:gd name="connsiteX3" fmla="*/ 0 w 3157538"/>
              <a:gd name="connsiteY3" fmla="*/ 607420 h 607420"/>
              <a:gd name="connsiteX4" fmla="*/ 0 w 3157538"/>
              <a:gd name="connsiteY4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324844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1752" h="607420">
                <a:moveTo>
                  <a:pt x="0" y="0"/>
                </a:moveTo>
                <a:lnTo>
                  <a:pt x="3157538" y="0"/>
                </a:lnTo>
                <a:cubicBezTo>
                  <a:pt x="3167668" y="3506"/>
                  <a:pt x="3306385" y="292764"/>
                  <a:pt x="3311752" y="291507"/>
                </a:cubicBezTo>
                <a:lnTo>
                  <a:pt x="3157538" y="607420"/>
                </a:lnTo>
                <a:lnTo>
                  <a:pt x="0" y="6074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 baseline="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8657091" y="3002556"/>
            <a:ext cx="3157538" cy="60742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657091" y="3754844"/>
            <a:ext cx="3157538" cy="60742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 baseline="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8656581" y="5259420"/>
            <a:ext cx="3157538" cy="60742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656581" y="6011708"/>
            <a:ext cx="3157538" cy="60742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5260493" y="3754844"/>
            <a:ext cx="3311752" cy="607420"/>
          </a:xfrm>
          <a:custGeom>
            <a:avLst/>
            <a:gdLst>
              <a:gd name="connsiteX0" fmla="*/ 0 w 3157538"/>
              <a:gd name="connsiteY0" fmla="*/ 0 h 607420"/>
              <a:gd name="connsiteX1" fmla="*/ 3157538 w 3157538"/>
              <a:gd name="connsiteY1" fmla="*/ 0 h 607420"/>
              <a:gd name="connsiteX2" fmla="*/ 3157538 w 3157538"/>
              <a:gd name="connsiteY2" fmla="*/ 607420 h 607420"/>
              <a:gd name="connsiteX3" fmla="*/ 0 w 3157538"/>
              <a:gd name="connsiteY3" fmla="*/ 607420 h 607420"/>
              <a:gd name="connsiteX4" fmla="*/ 0 w 3157538"/>
              <a:gd name="connsiteY4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324844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1752" h="607420">
                <a:moveTo>
                  <a:pt x="0" y="0"/>
                </a:moveTo>
                <a:lnTo>
                  <a:pt x="3157538" y="0"/>
                </a:lnTo>
                <a:cubicBezTo>
                  <a:pt x="3167668" y="3506"/>
                  <a:pt x="3306385" y="292764"/>
                  <a:pt x="3311752" y="291507"/>
                </a:cubicBezTo>
                <a:lnTo>
                  <a:pt x="3157538" y="607420"/>
                </a:lnTo>
                <a:lnTo>
                  <a:pt x="0" y="6074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 baseline="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5260493" y="4507035"/>
            <a:ext cx="3311752" cy="607420"/>
          </a:xfrm>
          <a:custGeom>
            <a:avLst/>
            <a:gdLst>
              <a:gd name="connsiteX0" fmla="*/ 0 w 3157538"/>
              <a:gd name="connsiteY0" fmla="*/ 0 h 607420"/>
              <a:gd name="connsiteX1" fmla="*/ 3157538 w 3157538"/>
              <a:gd name="connsiteY1" fmla="*/ 0 h 607420"/>
              <a:gd name="connsiteX2" fmla="*/ 3157538 w 3157538"/>
              <a:gd name="connsiteY2" fmla="*/ 607420 h 607420"/>
              <a:gd name="connsiteX3" fmla="*/ 0 w 3157538"/>
              <a:gd name="connsiteY3" fmla="*/ 607420 h 607420"/>
              <a:gd name="connsiteX4" fmla="*/ 0 w 3157538"/>
              <a:gd name="connsiteY4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324844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1752" h="607420">
                <a:moveTo>
                  <a:pt x="0" y="0"/>
                </a:moveTo>
                <a:lnTo>
                  <a:pt x="3157538" y="0"/>
                </a:lnTo>
                <a:cubicBezTo>
                  <a:pt x="3167668" y="3506"/>
                  <a:pt x="3306385" y="292764"/>
                  <a:pt x="3311752" y="291507"/>
                </a:cubicBezTo>
                <a:lnTo>
                  <a:pt x="3157538" y="607420"/>
                </a:lnTo>
                <a:lnTo>
                  <a:pt x="0" y="6074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marL="0" marR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505050"/>
                </a:solidFill>
              </a:defRPr>
            </a:lvl1pPr>
          </a:lstStyle>
          <a:p>
            <a:pPr marL="0" marR="0" lvl="0" indent="0" algn="l" defTabSz="89621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ype here</a:t>
            </a:r>
          </a:p>
          <a:p>
            <a:pPr lvl="0"/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5260493" y="5259420"/>
            <a:ext cx="3311752" cy="607420"/>
          </a:xfrm>
          <a:custGeom>
            <a:avLst/>
            <a:gdLst>
              <a:gd name="connsiteX0" fmla="*/ 0 w 3157538"/>
              <a:gd name="connsiteY0" fmla="*/ 0 h 607420"/>
              <a:gd name="connsiteX1" fmla="*/ 3157538 w 3157538"/>
              <a:gd name="connsiteY1" fmla="*/ 0 h 607420"/>
              <a:gd name="connsiteX2" fmla="*/ 3157538 w 3157538"/>
              <a:gd name="connsiteY2" fmla="*/ 607420 h 607420"/>
              <a:gd name="connsiteX3" fmla="*/ 0 w 3157538"/>
              <a:gd name="connsiteY3" fmla="*/ 607420 h 607420"/>
              <a:gd name="connsiteX4" fmla="*/ 0 w 3157538"/>
              <a:gd name="connsiteY4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324844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1752" h="607420">
                <a:moveTo>
                  <a:pt x="0" y="0"/>
                </a:moveTo>
                <a:lnTo>
                  <a:pt x="3157538" y="0"/>
                </a:lnTo>
                <a:cubicBezTo>
                  <a:pt x="3167668" y="3506"/>
                  <a:pt x="3306385" y="292764"/>
                  <a:pt x="3311752" y="291507"/>
                </a:cubicBezTo>
                <a:lnTo>
                  <a:pt x="3157538" y="607420"/>
                </a:lnTo>
                <a:lnTo>
                  <a:pt x="0" y="6074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 baseline="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5260493" y="6011708"/>
            <a:ext cx="3311752" cy="607420"/>
          </a:xfrm>
          <a:custGeom>
            <a:avLst/>
            <a:gdLst>
              <a:gd name="connsiteX0" fmla="*/ 0 w 3157538"/>
              <a:gd name="connsiteY0" fmla="*/ 0 h 607420"/>
              <a:gd name="connsiteX1" fmla="*/ 3157538 w 3157538"/>
              <a:gd name="connsiteY1" fmla="*/ 0 h 607420"/>
              <a:gd name="connsiteX2" fmla="*/ 3157538 w 3157538"/>
              <a:gd name="connsiteY2" fmla="*/ 607420 h 607420"/>
              <a:gd name="connsiteX3" fmla="*/ 0 w 3157538"/>
              <a:gd name="connsiteY3" fmla="*/ 607420 h 607420"/>
              <a:gd name="connsiteX4" fmla="*/ 0 w 3157538"/>
              <a:gd name="connsiteY4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324844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  <a:gd name="connsiteX0" fmla="*/ 0 w 3311752"/>
              <a:gd name="connsiteY0" fmla="*/ 0 h 607420"/>
              <a:gd name="connsiteX1" fmla="*/ 3157538 w 3311752"/>
              <a:gd name="connsiteY1" fmla="*/ 0 h 607420"/>
              <a:gd name="connsiteX2" fmla="*/ 3311752 w 3311752"/>
              <a:gd name="connsiteY2" fmla="*/ 291507 h 607420"/>
              <a:gd name="connsiteX3" fmla="*/ 3157538 w 3311752"/>
              <a:gd name="connsiteY3" fmla="*/ 607420 h 607420"/>
              <a:gd name="connsiteX4" fmla="*/ 0 w 3311752"/>
              <a:gd name="connsiteY4" fmla="*/ 607420 h 607420"/>
              <a:gd name="connsiteX5" fmla="*/ 0 w 3311752"/>
              <a:gd name="connsiteY5" fmla="*/ 0 h 60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1752" h="607420">
                <a:moveTo>
                  <a:pt x="0" y="0"/>
                </a:moveTo>
                <a:lnTo>
                  <a:pt x="3157538" y="0"/>
                </a:lnTo>
                <a:cubicBezTo>
                  <a:pt x="3167668" y="3506"/>
                  <a:pt x="3306385" y="292764"/>
                  <a:pt x="3311752" y="291507"/>
                </a:cubicBezTo>
                <a:lnTo>
                  <a:pt x="3157538" y="607420"/>
                </a:lnTo>
                <a:lnTo>
                  <a:pt x="0" y="6074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 baseline="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8656581" y="4507035"/>
            <a:ext cx="3157538" cy="60742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>
              <a:defRPr sz="18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 dirty="0"/>
              <a:t>Type here</a:t>
            </a:r>
          </a:p>
        </p:txBody>
      </p:sp>
    </p:spTree>
    <p:extLst>
      <p:ext uri="{BB962C8B-B14F-4D97-AF65-F5344CB8AC3E}">
        <p14:creationId xmlns:p14="http://schemas.microsoft.com/office/powerpoint/2010/main" val="2881639344"/>
      </p:ext>
    </p:extLst>
  </p:cSld>
  <p:clrMapOvr>
    <a:masterClrMapping/>
  </p:clrMapOvr>
  <p:transition spd="slow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613658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7" y="869950"/>
            <a:ext cx="10612956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30200" y="1827213"/>
            <a:ext cx="1963738" cy="1963737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133192" y="1827213"/>
            <a:ext cx="1963738" cy="1963737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30200" y="3995056"/>
            <a:ext cx="1963738" cy="1963737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133192" y="3995056"/>
            <a:ext cx="1963738" cy="1963737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2293938" y="1821769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293938" y="2434544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96930" y="1821769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8096930" y="2434544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8096930" y="3995056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2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096930" y="4607831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2293938" y="3995056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2293938" y="4607831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901551909"/>
      </p:ext>
    </p:extLst>
  </p:cSld>
  <p:clrMapOvr>
    <a:masterClrMapping/>
  </p:clrMapOvr>
  <p:transition spd="slow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17" y="135554"/>
            <a:ext cx="10613658" cy="7277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9617" y="869950"/>
            <a:ext cx="10612956" cy="3999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>
                <a:solidFill>
                  <a:srgbClr val="50505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2293938" y="1821769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293938" y="2434544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96930" y="1821769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8096930" y="2434544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8096930" y="3995056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2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096930" y="4607831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2293938" y="3995056"/>
            <a:ext cx="3640137" cy="601662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+mj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2293938" y="4607831"/>
            <a:ext cx="3640137" cy="135640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05050"/>
                </a:solidFill>
                <a:latin typeface="+mn-lt"/>
              </a:defRPr>
            </a:lvl1pPr>
            <a:lvl2pPr>
              <a:defRPr sz="4000">
                <a:solidFill>
                  <a:schemeClr val="accent1"/>
                </a:solidFill>
                <a:latin typeface="+mj-lt"/>
              </a:defRPr>
            </a:lvl2pPr>
            <a:lvl3pPr>
              <a:defRPr sz="4000">
                <a:solidFill>
                  <a:schemeClr val="accent1"/>
                </a:solidFill>
                <a:latin typeface="+mj-lt"/>
              </a:defRPr>
            </a:lvl3pPr>
            <a:lvl4pPr>
              <a:defRPr sz="4000">
                <a:solidFill>
                  <a:schemeClr val="accent1"/>
                </a:solidFill>
                <a:latin typeface="+mj-lt"/>
              </a:defRPr>
            </a:lvl4pPr>
            <a:lvl5pPr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6132663" y="3995056"/>
            <a:ext cx="1964267" cy="196426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132663" y="1827589"/>
            <a:ext cx="1964267" cy="19727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330199" y="3995056"/>
            <a:ext cx="1964267" cy="19642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330199" y="1827589"/>
            <a:ext cx="1964267" cy="197273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596876"/>
      </p:ext>
    </p:extLst>
  </p:cSld>
  <p:clrMapOvr>
    <a:masterClrMapping/>
  </p:clrMapOvr>
  <p:transition spd="slow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671355-592F-45E3-963D-007FAC21D29F}" type="datetimeFigureOut">
              <a:rPr kumimoji="1" lang="ja-JP" altLang="en-US" smtClean="0"/>
              <a:t>2017/1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D7E2401-39DD-4525-8456-B52B049EDF8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86635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9299873" y="6494465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2D8002D-B5B0-4BAC-B1F6-782DDCCE6D9C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タイトル 1"/>
          <p:cNvSpPr txBox="1">
            <a:spLocks/>
          </p:cNvSpPr>
          <p:nvPr userDrawn="1"/>
        </p:nvSpPr>
        <p:spPr>
          <a:xfrm>
            <a:off x="315304" y="332659"/>
            <a:ext cx="11541336" cy="568069"/>
          </a:xfrm>
          <a:prstGeom prst="rect">
            <a:avLst/>
          </a:prstGeom>
        </p:spPr>
        <p:txBody>
          <a:bodyPr vert="horz" lIns="91404" tIns="45702" rIns="91404" bIns="45702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+mj-cs"/>
              </a:defRPr>
            </a:lvl1pPr>
          </a:lstStyle>
          <a:p>
            <a:pPr algn="l"/>
            <a:endParaRPr lang="en-US" sz="19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86585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Page (Building)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1951" y="2586870"/>
            <a:ext cx="11660048" cy="4266619"/>
          </a:xfrm>
          <a:prstGeom prst="rect">
            <a:avLst/>
          </a:prstGeom>
          <a:noFill/>
        </p:spPr>
      </p:pic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519248" y="360403"/>
            <a:ext cx="11151918" cy="509171"/>
          </a:xfrm>
        </p:spPr>
        <p:txBody>
          <a:bodyPr anchor="t"/>
          <a:lstStyle>
            <a:lvl1pPr>
              <a:defRPr sz="3200" b="0" baseline="0">
                <a:solidFill>
                  <a:schemeClr val="tx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/>
          </p:nvPr>
        </p:nvSpPr>
        <p:spPr>
          <a:xfrm>
            <a:off x="519568" y="895548"/>
            <a:ext cx="11132863" cy="430336"/>
          </a:xfrm>
        </p:spPr>
        <p:txBody>
          <a:bodyPr anchor="b"/>
          <a:lstStyle>
            <a:lvl1pPr marL="0" indent="0">
              <a:buNone/>
              <a:tabLst>
                <a:tab pos="628529" algn="l"/>
              </a:tabLst>
              <a:defRPr sz="1800" b="0" baseline="0">
                <a:solidFill>
                  <a:srgbClr val="949699"/>
                </a:solidFill>
                <a:latin typeface="Segoe UI Light" pitchFamily="34" charset="0"/>
                <a:ea typeface="Verdana" pitchFamily="34" charset="0"/>
                <a:cs typeface="Verdana" pitchFamily="34" charset="0"/>
              </a:defRPr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6"/>
          <p:cNvSpPr>
            <a:spLocks noGrp="1"/>
          </p:cNvSpPr>
          <p:nvPr>
            <p:ph sz="quarter" idx="10"/>
          </p:nvPr>
        </p:nvSpPr>
        <p:spPr>
          <a:xfrm>
            <a:off x="519248" y="1451253"/>
            <a:ext cx="11403514" cy="1955464"/>
          </a:xfrm>
        </p:spPr>
        <p:txBody>
          <a:bodyPr/>
          <a:lstStyle>
            <a:lvl1pPr>
              <a:defRPr sz="2745">
                <a:latin typeface="+mj-lt"/>
              </a:defRPr>
            </a:lvl1pPr>
            <a:lvl2pPr>
              <a:defRPr sz="2353">
                <a:latin typeface="+mj-lt"/>
              </a:defRPr>
            </a:lvl2pPr>
            <a:lvl3pPr>
              <a:defRPr sz="2353">
                <a:latin typeface="+mj-lt"/>
              </a:defRPr>
            </a:lvl3pPr>
            <a:lvl4pPr>
              <a:defRPr sz="1765">
                <a:latin typeface="+mj-lt"/>
              </a:defRPr>
            </a:lvl4pPr>
            <a:lvl5pPr>
              <a:defRPr sz="1765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-163888" y="6493428"/>
            <a:ext cx="599400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 b="1">
                <a:solidFill>
                  <a:srgbClr val="003963"/>
                </a:solidFill>
              </a:defRPr>
            </a:lvl1pPr>
          </a:lstStyle>
          <a:p>
            <a:fld id="{79F81509-1E32-4A07-83B7-7BF9FBDBCB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7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11546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>
          <p15:clr>
            <a:srgbClr val="5ACBF0"/>
          </p15:clr>
        </p15:guide>
        <p15:guide id="2" pos="895">
          <p15:clr>
            <a:srgbClr val="5ACBF0"/>
          </p15:clr>
        </p15:guide>
        <p15:guide id="3" pos="1663">
          <p15:clr>
            <a:srgbClr val="5ACBF0"/>
          </p15:clr>
        </p15:guide>
        <p15:guide id="4" pos="2431">
          <p15:clr>
            <a:srgbClr val="5ACBF0"/>
          </p15:clr>
        </p15:guide>
        <p15:guide id="5" pos="3199">
          <p15:clr>
            <a:srgbClr val="5ACBF0"/>
          </p15:clr>
        </p15:guide>
        <p15:guide id="6" pos="3967">
          <p15:clr>
            <a:srgbClr val="5ACBF0"/>
          </p15:clr>
        </p15:guide>
        <p15:guide id="7" pos="4735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814A8-707E-4EB7-B523-A83E81DFE400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706578-1FEA-4CEB-8592-98FA454F6B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21666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7632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>
          <p15:clr>
            <a:srgbClr val="5ACBF0"/>
          </p15:clr>
        </p15:guide>
        <p15:guide id="2" pos="895">
          <p15:clr>
            <a:srgbClr val="5ACBF0"/>
          </p15:clr>
        </p15:guide>
        <p15:guide id="3" pos="1663">
          <p15:clr>
            <a:srgbClr val="5ACBF0"/>
          </p15:clr>
        </p15:guide>
        <p15:guide id="4" pos="2431">
          <p15:clr>
            <a:srgbClr val="5ACBF0"/>
          </p15:clr>
        </p15:guide>
        <p15:guide id="5" pos="3199">
          <p15:clr>
            <a:srgbClr val="5ACBF0"/>
          </p15:clr>
        </p15:guide>
        <p15:guide id="6" pos="3967">
          <p15:clr>
            <a:srgbClr val="5ACBF0"/>
          </p15:clr>
        </p15:guide>
        <p15:guide id="7" pos="4735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05000" y="6477876"/>
            <a:ext cx="8382000" cy="380127"/>
          </a:xfrm>
        </p:spPr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68312183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1200"/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36944597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89634796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73725732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3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9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71437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2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3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236159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4147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801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22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60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8835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8620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2707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21087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9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2775" spc="-45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2210012756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79" y="2901953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2317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0576963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178209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72838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31316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-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647789" y="0"/>
            <a:ext cx="6544212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2906010"/>
            <a:ext cx="5378548" cy="1045977"/>
          </a:xfrm>
        </p:spPr>
        <p:txBody>
          <a:bodyPr lIns="182880" anchor="ctr">
            <a:noAutofit/>
          </a:bodyPr>
          <a:lstStyle>
            <a:lvl1pPr marL="0" indent="0">
              <a:buNone/>
              <a:defRPr sz="5294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02458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613E-6 0 L 0.07302 0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51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996 0 L 0.07735 0 " pathEditMode="relative" rAng="0" ptsTypes="AA">
                                      <p:cBhvr>
                                        <p:cTn id="14" dur="750" spd="-100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7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 build="p">
        <p:tmplLst>
          <p:tmpl lvl="1">
            <p:tnLst>
              <p:par>
                <p:cTn presetID="63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0.00996 0 L 0.07735 0 " pathEditMode="relative" rAng="0" ptsTypes="AA">
                      <p:cBhvr>
                        <p:cTn dur="750" spd="-100000" fill="hold"/>
                        <p:tgtEl>
                          <p:spTgt spid="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370" y="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XAMPLE ONLY: 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82880" rIns="146304" bIns="9144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8"/>
            <a:ext cx="1947103" cy="71604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9144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8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1584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-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0" y="2980725"/>
            <a:ext cx="4482315" cy="896551"/>
          </a:xfrm>
        </p:spPr>
        <p:txBody>
          <a:bodyPr lIns="182880" rIns="91440" anchor="ctr">
            <a:noAutofit/>
          </a:bodyPr>
          <a:lstStyle>
            <a:lvl1pPr marL="0" indent="0">
              <a:buNone/>
              <a:defRPr sz="5294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765416" y="0"/>
            <a:ext cx="7426585" cy="6858000"/>
          </a:xfrm>
          <a:solidFill>
            <a:schemeClr val="accent1"/>
          </a:solidFill>
        </p:spPr>
        <p:txBody>
          <a:bodyPr lIns="274320" rIns="274320" anchor="ctr">
            <a:noAutofit/>
          </a:bodyPr>
          <a:lstStyle>
            <a:lvl1pPr marL="0" indent="0">
              <a:buNone/>
              <a:defRPr sz="2353" baseline="0"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646801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14117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2934846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038556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90725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Dark Gra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65011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959770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84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7223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95676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520558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8"/>
            <a:ext cx="1947103" cy="71604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6" y="198358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4870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7317340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970989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837769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56117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779146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488510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37434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77607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81563449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19813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27072" y="1600200"/>
            <a:ext cx="11356757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496836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98313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2209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9607172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5252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3152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345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088600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97329468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9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37241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031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2" y="6478590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31918153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>
            <a:spLocks/>
          </p:cNvSpPr>
          <p:nvPr userDrawn="1"/>
        </p:nvSpPr>
        <p:spPr bwMode="auto">
          <a:xfrm flipH="1" flipV="1">
            <a:off x="0" y="1"/>
            <a:ext cx="3047516" cy="6858001"/>
          </a:xfrm>
          <a:custGeom>
            <a:avLst/>
            <a:gdLst>
              <a:gd name="connsiteX0" fmla="*/ 3047516 w 3047516"/>
              <a:gd name="connsiteY0" fmla="*/ 6858001 h 6858001"/>
              <a:gd name="connsiteX1" fmla="*/ 0 w 3047516"/>
              <a:gd name="connsiteY1" fmla="*/ 6858001 h 6858001"/>
              <a:gd name="connsiteX2" fmla="*/ 1457720 w 3047516"/>
              <a:gd name="connsiteY2" fmla="*/ 0 h 6858001"/>
              <a:gd name="connsiteX3" fmla="*/ 3047516 w 3047516"/>
              <a:gd name="connsiteY3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16" h="6858001">
                <a:moveTo>
                  <a:pt x="3047516" y="6858001"/>
                </a:moveTo>
                <a:lnTo>
                  <a:pt x="0" y="6858001"/>
                </a:lnTo>
                <a:lnTo>
                  <a:pt x="1457720" y="0"/>
                </a:lnTo>
                <a:lnTo>
                  <a:pt x="304751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pPr defTabSz="914314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918256" y="-1024186"/>
            <a:ext cx="896425" cy="896552"/>
          </a:xfrm>
          <a:prstGeom prst="rect">
            <a:avLst/>
          </a:prstGeom>
          <a:noFill/>
        </p:spPr>
        <p:txBody>
          <a:bodyPr wrap="none" lIns="175761" tIns="140609" rIns="175761" bIns="140609"/>
          <a:lstStyle/>
          <a:p>
            <a:pPr defTabSz="895509" fontAlgn="base">
              <a:lnSpc>
                <a:spcPct val="90000"/>
              </a:lnSpc>
              <a:spcBef>
                <a:spcPct val="0"/>
              </a:spcBef>
              <a:spcAft>
                <a:spcPts val="576"/>
              </a:spcAft>
              <a:defRPr/>
            </a:pPr>
            <a:endParaRPr lang="en-US" sz="2307" dirty="0"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a typeface="MS PGothic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052793" y="-1674809"/>
            <a:ext cx="896425" cy="896552"/>
          </a:xfrm>
          <a:prstGeom prst="rect">
            <a:avLst/>
          </a:prstGeom>
          <a:noFill/>
        </p:spPr>
        <p:txBody>
          <a:bodyPr wrap="none" lIns="175761" tIns="140609" rIns="175761" bIns="140609"/>
          <a:lstStyle/>
          <a:p>
            <a:pPr defTabSz="895509" fontAlgn="base">
              <a:lnSpc>
                <a:spcPct val="90000"/>
              </a:lnSpc>
              <a:spcBef>
                <a:spcPct val="0"/>
              </a:spcBef>
              <a:spcAft>
                <a:spcPts val="576"/>
              </a:spcAft>
              <a:defRPr/>
            </a:pPr>
            <a:endParaRPr lang="en-US" sz="2307" dirty="0"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a typeface="MS PGothic" charset="0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68928" y="286382"/>
            <a:ext cx="2626673" cy="151426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137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67166" y="6437743"/>
            <a:ext cx="555597" cy="133860"/>
          </a:xfrm>
        </p:spPr>
        <p:txBody>
          <a:bodyPr/>
          <a:lstStyle>
            <a:lvl1pPr>
              <a:defRPr/>
            </a:lvl1pPr>
          </a:lstStyle>
          <a:p>
            <a:fld id="{6052FC3A-E1BD-E54F-9A48-71EBDEF0055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16"/>
          </p:nvPr>
        </p:nvSpPr>
        <p:spPr>
          <a:xfrm>
            <a:off x="3047516" y="742950"/>
            <a:ext cx="8874610" cy="5372100"/>
          </a:xfrm>
        </p:spPr>
        <p:txBody>
          <a:bodyPr/>
          <a:lstStyle>
            <a:lvl1pPr marL="0" indent="0">
              <a:spcBef>
                <a:spcPts val="1176"/>
              </a:spcBef>
              <a:buNone/>
              <a:defRPr sz="2745"/>
            </a:lvl1pPr>
            <a:lvl2pPr marL="0" indent="0">
              <a:spcBef>
                <a:spcPts val="1176"/>
              </a:spcBef>
              <a:defRPr lang="en-US" sz="1961" kern="1200" dirty="0" smtClean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>
              <a:defRPr sz="1765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761126" y="6419582"/>
            <a:ext cx="2606040" cy="182880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noAutofit/>
          </a:bodyPr>
          <a:lstStyle/>
          <a:p>
            <a:pPr algn="r" defTabSz="914314">
              <a:lnSpc>
                <a:spcPct val="90000"/>
              </a:lnSpc>
              <a:spcAft>
                <a:spcPts val="588"/>
              </a:spcAft>
            </a:pPr>
            <a:r>
              <a:rPr lang="en-US" sz="863" dirty="0">
                <a:solidFill>
                  <a:srgbClr val="505050"/>
                </a:solidFill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4489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4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1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2" y="6119148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81158"/>
            <a:ext cx="1408078" cy="300619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095548" y="2425050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89585" tIns="44793" rIns="89585" bIns="4479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21923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2" y="6119148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0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5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3" y="301617"/>
            <a:ext cx="3584144" cy="566822"/>
          </a:xfrm>
        </p:spPr>
        <p:txBody>
          <a:bodyPr lIns="182880" tIns="146304" rIns="182880" bIns="146304"/>
          <a:lstStyle>
            <a:lvl1pPr marL="0" indent="0" algn="r">
              <a:buNone/>
              <a:defRPr sz="1959">
                <a:latin typeface="+mn-lt"/>
              </a:defRPr>
            </a:lvl1pPr>
            <a:lvl2pPr marL="335939" indent="0">
              <a:buNone/>
              <a:defRPr sz="1959"/>
            </a:lvl2pPr>
            <a:lvl3pPr marL="559899" indent="0">
              <a:buNone/>
              <a:defRPr sz="1959"/>
            </a:lvl3pPr>
            <a:lvl4pPr marL="783858" indent="0">
              <a:buNone/>
              <a:defRPr sz="1959"/>
            </a:lvl4pPr>
            <a:lvl5pPr marL="1007817" indent="0">
              <a:buNone/>
              <a:defRPr sz="1959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3308" y="5954047"/>
            <a:ext cx="1862846" cy="615609"/>
          </a:xfrm>
          <a:prstGeom prst="rect">
            <a:avLst/>
          </a:prstGeom>
          <a:noFill/>
        </p:spPr>
        <p:txBody>
          <a:bodyPr wrap="none" lIns="179171" tIns="143336" rIns="179171" bIns="143336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1270142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2" y="6119148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0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5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3" y="301617"/>
            <a:ext cx="3584144" cy="566822"/>
          </a:xfrm>
        </p:spPr>
        <p:txBody>
          <a:bodyPr lIns="182880" tIns="146304" rIns="182880" bIns="146304"/>
          <a:lstStyle>
            <a:lvl1pPr marL="0" indent="0" algn="r">
              <a:buNone/>
              <a:defRPr sz="1959">
                <a:latin typeface="+mn-lt"/>
              </a:defRPr>
            </a:lvl1pPr>
            <a:lvl2pPr marL="335939" indent="0">
              <a:buNone/>
              <a:defRPr sz="1959"/>
            </a:lvl2pPr>
            <a:lvl3pPr marL="559899" indent="0">
              <a:buNone/>
              <a:defRPr sz="1959"/>
            </a:lvl3pPr>
            <a:lvl4pPr marL="783858" indent="0">
              <a:buNone/>
              <a:defRPr sz="1959"/>
            </a:lvl4pPr>
            <a:lvl5pPr marL="1007817" indent="0">
              <a:buNone/>
              <a:defRPr sz="1959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48213" y="481157"/>
            <a:ext cx="1214650" cy="30482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85" tIns="44793" rIns="89585" bIns="44793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3308" y="5954047"/>
            <a:ext cx="1862846" cy="615609"/>
          </a:xfrm>
          <a:prstGeom prst="rect">
            <a:avLst/>
          </a:prstGeom>
          <a:noFill/>
        </p:spPr>
        <p:txBody>
          <a:bodyPr wrap="none" lIns="179171" tIns="143336" rIns="179171" bIns="143336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775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2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9"/>
            </a:lvl2pPr>
            <a:lvl3pPr marL="223959" indent="0">
              <a:buNone/>
              <a:defRPr/>
            </a:lvl3pPr>
            <a:lvl4pPr marL="447919" indent="0">
              <a:buNone/>
              <a:defRPr/>
            </a:lvl4pPr>
            <a:lvl5pPr marL="67187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937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2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9"/>
            </a:lvl2pPr>
            <a:lvl3pPr marL="223959" indent="0">
              <a:buNone/>
              <a:defRPr/>
            </a:lvl3pPr>
            <a:lvl4pPr marL="447919" indent="0">
              <a:buNone/>
              <a:defRPr/>
            </a:lvl4pPr>
            <a:lvl5pPr marL="67187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662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2" cy="2052030"/>
          </a:xfrm>
        </p:spPr>
        <p:txBody>
          <a:bodyPr>
            <a:spAutoFit/>
          </a:bodyPr>
          <a:lstStyle>
            <a:lvl1pPr>
              <a:defRPr sz="391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3048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2" cy="2052030"/>
          </a:xfrm>
        </p:spPr>
        <p:txBody>
          <a:bodyPr>
            <a:spAutoFit/>
          </a:bodyPr>
          <a:lstStyle>
            <a:lvl1pPr>
              <a:defRPr sz="391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01948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199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59"/>
            </a:lvl2pPr>
            <a:lvl3pPr marL="227070" indent="0">
              <a:buNone/>
              <a:tabLst/>
              <a:defRPr sz="1959"/>
            </a:lvl3pPr>
            <a:lvl4pPr marL="451029" indent="0">
              <a:buNone/>
              <a:defRPr/>
            </a:lvl4pPr>
            <a:lvl5pPr marL="67187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199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59"/>
            </a:lvl2pPr>
            <a:lvl3pPr marL="227070" indent="0">
              <a:buNone/>
              <a:tabLst/>
              <a:defRPr sz="1959"/>
            </a:lvl3pPr>
            <a:lvl4pPr marL="451029" indent="0">
              <a:buNone/>
              <a:defRPr/>
            </a:lvl4pPr>
            <a:lvl5pPr marL="67187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125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199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59"/>
            </a:lvl2pPr>
            <a:lvl3pPr marL="227070" indent="0">
              <a:buNone/>
              <a:tabLst/>
              <a:defRPr sz="1959"/>
            </a:lvl3pPr>
            <a:lvl4pPr marL="451029" indent="0">
              <a:buNone/>
              <a:defRPr/>
            </a:lvl4pPr>
            <a:lvl5pPr marL="67187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199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59"/>
            </a:lvl2pPr>
            <a:lvl3pPr marL="227070" indent="0">
              <a:buNone/>
              <a:tabLst/>
              <a:defRPr sz="1959"/>
            </a:lvl3pPr>
            <a:lvl4pPr marL="451029" indent="0">
              <a:buNone/>
              <a:defRPr/>
            </a:lvl4pPr>
            <a:lvl5pPr marL="67187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311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27073" y="1600200"/>
            <a:ext cx="11202929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25288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5378548" cy="1943393"/>
          </a:xfrm>
        </p:spPr>
        <p:txBody>
          <a:bodyPr wrap="square">
            <a:spAutoFit/>
          </a:bodyPr>
          <a:lstStyle>
            <a:lvl1pPr marL="281505" indent="-281505">
              <a:spcBef>
                <a:spcPts val="1199"/>
              </a:spcBef>
              <a:buClr>
                <a:schemeClr val="tx2"/>
              </a:buClr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383" indent="-228461">
              <a:defRPr sz="2351"/>
            </a:lvl2pPr>
            <a:lvl3pPr marL="685383" indent="-165000">
              <a:tabLst/>
              <a:defRPr sz="1959"/>
            </a:lvl3pPr>
            <a:lvl4pPr marL="863075" indent="-177692">
              <a:defRPr/>
            </a:lvl4pPr>
            <a:lvl5pPr marL="1028075" indent="-16500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7"/>
            <a:ext cx="5378548" cy="1943393"/>
          </a:xfrm>
        </p:spPr>
        <p:txBody>
          <a:bodyPr wrap="square">
            <a:spAutoFit/>
          </a:bodyPr>
          <a:lstStyle>
            <a:lvl1pPr marL="281505" indent="-281505">
              <a:spcBef>
                <a:spcPts val="1199"/>
              </a:spcBef>
              <a:buClr>
                <a:schemeClr val="tx2"/>
              </a:buClr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383" indent="-228461">
              <a:defRPr sz="2351"/>
            </a:lvl2pPr>
            <a:lvl3pPr marL="685383" indent="-165000">
              <a:tabLst/>
              <a:defRPr sz="1959"/>
            </a:lvl3pPr>
            <a:lvl4pPr marL="863075" indent="-177692">
              <a:defRPr/>
            </a:lvl4pPr>
            <a:lvl5pPr marL="1028075" indent="-16500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942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5378548" cy="1943393"/>
          </a:xfrm>
        </p:spPr>
        <p:txBody>
          <a:bodyPr wrap="square">
            <a:spAutoFit/>
          </a:bodyPr>
          <a:lstStyle>
            <a:lvl1pPr marL="281505" indent="-281505">
              <a:spcBef>
                <a:spcPts val="1199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383" indent="-228461">
              <a:defRPr sz="2351"/>
            </a:lvl2pPr>
            <a:lvl3pPr marL="685383" indent="-165000">
              <a:tabLst/>
              <a:defRPr sz="1959"/>
            </a:lvl3pPr>
            <a:lvl4pPr marL="863075" indent="-177692">
              <a:defRPr/>
            </a:lvl4pPr>
            <a:lvl5pPr marL="1028075" indent="-16500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7"/>
            <a:ext cx="5378548" cy="1943393"/>
          </a:xfrm>
        </p:spPr>
        <p:txBody>
          <a:bodyPr wrap="square">
            <a:spAutoFit/>
          </a:bodyPr>
          <a:lstStyle>
            <a:lvl1pPr marL="281505" indent="-281505">
              <a:spcBef>
                <a:spcPts val="1199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383" indent="-228461">
              <a:defRPr sz="2351"/>
            </a:lvl2pPr>
            <a:lvl3pPr marL="685383" indent="-165000">
              <a:tabLst/>
              <a:defRPr sz="1959"/>
            </a:lvl3pPr>
            <a:lvl4pPr marL="863075" indent="-177692">
              <a:defRPr/>
            </a:lvl4pPr>
            <a:lvl5pPr marL="1028075" indent="-16500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21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016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5" y="2906012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32652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9642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96424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00335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96424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922935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2"/>
            <a:ext cx="11653522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7649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2"/>
            <a:ext cx="11653522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11081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6"/>
            <a:ext cx="5378548" cy="1973570"/>
          </a:xfrm>
        </p:spPr>
        <p:txBody>
          <a:bodyPr>
            <a:spAutoFit/>
          </a:bodyPr>
          <a:lstStyle>
            <a:lvl1pPr>
              <a:defRPr sz="6466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1"/>
            <a:ext cx="6094444" cy="68561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385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532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6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025917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369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93" tIns="45693" rIns="45693" bIns="456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4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3"/>
            <a:ext cx="11653521" cy="1956973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1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3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2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28081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7"/>
            <a:ext cx="1165352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171" tIns="143336" rIns="179171" bIns="143336" numCol="1" anchor="t" anchorCtr="0" compatLnSpc="1">
            <a:prstTxWarp prst="textNoShape">
              <a:avLst/>
            </a:prstTxWarp>
            <a:spAutoFit/>
          </a:bodyPr>
          <a:lstStyle/>
          <a:p>
            <a:pPr defTabSz="913365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70067"/>
            <a:ext cx="1408078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624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7"/>
            <a:ext cx="11653522" cy="2396047"/>
          </a:xfrm>
          <a:prstGeom prst="rect">
            <a:avLst/>
          </a:prstGeom>
        </p:spPr>
        <p:txBody>
          <a:bodyPr/>
          <a:lstStyle>
            <a:lvl1pPr marL="284616" indent="-284616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899" indent="-275284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14" indent="-284616">
              <a:buClr>
                <a:schemeClr val="tx1"/>
              </a:buClr>
              <a:buSzPct val="90000"/>
              <a:buFont typeface="Arial" pitchFamily="34" charset="0"/>
              <a:buChar char="•"/>
              <a:defRPr sz="274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474" indent="-223959">
              <a:buClr>
                <a:schemeClr val="tx1"/>
              </a:buClr>
              <a:buSzPct val="90000"/>
              <a:buFont typeface="Arial" pitchFamily="34" charset="0"/>
              <a:buChar char="•"/>
              <a:defRPr sz="235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33" indent="-223959">
              <a:buClr>
                <a:schemeClr val="tx1"/>
              </a:buClr>
              <a:buSzPct val="90000"/>
              <a:buFont typeface="Arial" pitchFamily="34" charset="0"/>
              <a:buChar char="•"/>
              <a:defRPr sz="19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330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6557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53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353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5198333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9129258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339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2353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339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2353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638654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587595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" y="6478590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27072" y="1600200"/>
            <a:ext cx="11356757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173061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501894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4" y="2906011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8248284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89642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6195">
                      <a:schemeClr val="tx1"/>
                    </a:gs>
                    <a:gs pos="2477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96424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6195">
                      <a:schemeClr val="tx1"/>
                    </a:gs>
                    <a:gs pos="24779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14626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96424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63016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7823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21239">
                      <a:srgbClr val="FFFFFF"/>
                    </a:gs>
                    <a:gs pos="52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213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04103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4244670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043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2172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05000" y="6477876"/>
            <a:ext cx="8382000" cy="380127"/>
          </a:xfrm>
        </p:spPr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9032624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" y="6478590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2" y="6478590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7062553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452531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212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2466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6881C-E856-430D-B8B0-BB3861FC566F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6B6F22-F744-46EA-BC8C-CBAFB2F51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7565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86039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562101"/>
            <a:ext cx="11653523" cy="2080954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4372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562101"/>
            <a:ext cx="11653523" cy="20809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961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3106857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657929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508550" y="3575431"/>
            <a:ext cx="11192219" cy="3076192"/>
          </a:xfrm>
          <a:prstGeom prst="rect">
            <a:avLst/>
          </a:prstGeom>
          <a:solidFill>
            <a:schemeClr val="tx2"/>
          </a:solidFill>
          <a:ln w="9525" cap="sq">
            <a:noFill/>
            <a:miter lim="800000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2297802" y="1796852"/>
            <a:ext cx="9402967" cy="1737875"/>
          </a:xfrm>
          <a:prstGeom prst="rect">
            <a:avLst/>
          </a:prstGeom>
          <a:solidFill>
            <a:schemeClr val="tx2"/>
          </a:solidFill>
          <a:ln w="9525" cap="sq">
            <a:noFill/>
            <a:miter lim="800000"/>
            <a:headEnd type="none" w="med" len="med"/>
            <a:tailEnd type="none" w="med" len="me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508550" y="1832855"/>
            <a:ext cx="1789252" cy="158632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sq">
            <a:noFill/>
            <a:miter lim="800000"/>
            <a:headEnd type="none" w="med" len="med"/>
            <a:tailEnd type="none" w="med" len="me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5309465" y="1996633"/>
            <a:ext cx="0" cy="1313986"/>
          </a:xfrm>
          <a:prstGeom prst="line">
            <a:avLst/>
          </a:prstGeom>
          <a:ln w="6350">
            <a:gradFill>
              <a:gsLst>
                <a:gs pos="0">
                  <a:srgbClr val="002050">
                    <a:alpha val="59000"/>
                  </a:srgbClr>
                </a:gs>
                <a:gs pos="100000">
                  <a:srgbClr val="002050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Isosceles Triangle 59"/>
          <p:cNvSpPr/>
          <p:nvPr/>
        </p:nvSpPr>
        <p:spPr bwMode="auto">
          <a:xfrm rot="5400000">
            <a:off x="-128132" y="2476620"/>
            <a:ext cx="1701872" cy="428508"/>
          </a:xfrm>
          <a:prstGeom prst="triangle">
            <a:avLst/>
          </a:prstGeom>
          <a:solidFill>
            <a:srgbClr val="737373"/>
          </a:solidFill>
          <a:ln w="28575" cap="sq">
            <a:noFill/>
            <a:miter lim="800000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828501" y="2104245"/>
            <a:ext cx="1149350" cy="1098762"/>
          </a:xfrm>
        </p:spPr>
        <p:txBody>
          <a:bodyPr/>
          <a:lstStyle>
            <a:lvl1pPr marL="0" indent="0" algn="ctr">
              <a:buNone/>
              <a:defRPr sz="6598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1"/>
          </p:nvPr>
        </p:nvSpPr>
        <p:spPr>
          <a:xfrm>
            <a:off x="2476500" y="2225484"/>
            <a:ext cx="2659303" cy="886397"/>
          </a:xfrm>
        </p:spPr>
        <p:txBody>
          <a:bodyPr lIns="0" tIns="0" rIns="0" bIns="0" anchor="ctr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336016" indent="0">
              <a:buNone/>
              <a:defRPr/>
            </a:lvl2pPr>
            <a:lvl3pPr marL="560026" indent="0">
              <a:buNone/>
              <a:defRPr/>
            </a:lvl3pPr>
            <a:lvl4pPr marL="784036" indent="0">
              <a:buNone/>
              <a:defRPr/>
            </a:lvl4pPr>
            <a:lvl5pPr marL="100804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8" name="Text Placeholder 66"/>
          <p:cNvSpPr>
            <a:spLocks noGrp="1"/>
          </p:cNvSpPr>
          <p:nvPr>
            <p:ph type="body" sz="quarter" idx="12"/>
          </p:nvPr>
        </p:nvSpPr>
        <p:spPr>
          <a:xfrm>
            <a:off x="5455754" y="2530183"/>
            <a:ext cx="5996440" cy="276999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36016" indent="0">
              <a:buNone/>
              <a:defRPr/>
            </a:lvl2pPr>
            <a:lvl3pPr marL="560026" indent="0">
              <a:buNone/>
              <a:defRPr/>
            </a:lvl3pPr>
            <a:lvl4pPr marL="784036" indent="0">
              <a:buNone/>
              <a:defRPr/>
            </a:lvl4pPr>
            <a:lvl5pPr marL="100804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4639" y="1052513"/>
            <a:ext cx="11704637" cy="572464"/>
          </a:xfrm>
        </p:spPr>
        <p:txBody>
          <a:bodyPr/>
          <a:lstStyle>
            <a:lvl1pPr marL="0" indent="0">
              <a:buNone/>
              <a:defRPr sz="2800">
                <a:solidFill>
                  <a:srgbClr val="0070C0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44162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104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3575431"/>
            <a:ext cx="12192000" cy="328257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 cap="sq">
            <a:noFill/>
            <a:miter lim="800000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1805328" y="1796852"/>
            <a:ext cx="10386672" cy="1737875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 cap="sq">
            <a:noFill/>
            <a:miter lim="800000"/>
            <a:headEnd type="none" w="med" len="med"/>
            <a:tailEnd type="none" w="med" len="me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8038" y="1796852"/>
            <a:ext cx="1789252" cy="1737874"/>
          </a:xfrm>
          <a:prstGeom prst="rect">
            <a:avLst/>
          </a:prstGeom>
          <a:solidFill>
            <a:schemeClr val="bg2"/>
          </a:solidFill>
          <a:ln w="9525" cap="sq">
            <a:noFill/>
            <a:miter lim="800000"/>
            <a:headEnd type="none" w="med" len="med"/>
            <a:tailEnd type="none" w="med" len="me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Isosceles Triangle 59"/>
          <p:cNvSpPr/>
          <p:nvPr/>
        </p:nvSpPr>
        <p:spPr bwMode="auto">
          <a:xfrm rot="5400000">
            <a:off x="-631960" y="2473078"/>
            <a:ext cx="1694788" cy="428508"/>
          </a:xfrm>
          <a:prstGeom prst="triangle">
            <a:avLst/>
          </a:prstGeom>
          <a:solidFill>
            <a:srgbClr val="737373"/>
          </a:solidFill>
          <a:ln w="28575" cap="sq">
            <a:noFill/>
            <a:miter lim="800000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441218" y="2175269"/>
            <a:ext cx="1149350" cy="1098762"/>
          </a:xfrm>
        </p:spPr>
        <p:txBody>
          <a:bodyPr/>
          <a:lstStyle>
            <a:lvl1pPr marL="0" indent="0" algn="ctr">
              <a:buNone/>
              <a:defRPr sz="6598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1"/>
          </p:nvPr>
        </p:nvSpPr>
        <p:spPr>
          <a:xfrm>
            <a:off x="1938928" y="1953670"/>
            <a:ext cx="9513266" cy="443198"/>
          </a:xfrm>
        </p:spPr>
        <p:txBody>
          <a:bodyPr lIns="0" tIns="0" rIns="0" bIns="0" anchor="ctr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336016" indent="0">
              <a:buNone/>
              <a:defRPr/>
            </a:lvl2pPr>
            <a:lvl3pPr marL="560026" indent="0">
              <a:buNone/>
              <a:defRPr/>
            </a:lvl3pPr>
            <a:lvl4pPr marL="784036" indent="0">
              <a:buNone/>
              <a:defRPr/>
            </a:lvl4pPr>
            <a:lvl5pPr marL="100804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8" name="Text Placeholder 66"/>
          <p:cNvSpPr>
            <a:spLocks noGrp="1"/>
          </p:cNvSpPr>
          <p:nvPr>
            <p:ph type="body" sz="quarter" idx="12"/>
          </p:nvPr>
        </p:nvSpPr>
        <p:spPr>
          <a:xfrm>
            <a:off x="1938928" y="2530183"/>
            <a:ext cx="9513266" cy="276999"/>
          </a:xfrm>
        </p:spPr>
        <p:txBody>
          <a:bodyPr lIns="0" tIns="0" rIns="0" bIns="0" anchor="t" anchorCtr="0"/>
          <a:lstStyle>
            <a:lvl1pPr marL="0" indent="0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36016" indent="0">
              <a:buNone/>
              <a:defRPr/>
            </a:lvl2pPr>
            <a:lvl3pPr marL="560026" indent="0">
              <a:buNone/>
              <a:defRPr/>
            </a:lvl3pPr>
            <a:lvl4pPr marL="784036" indent="0">
              <a:buNone/>
              <a:defRPr/>
            </a:lvl4pPr>
            <a:lvl5pPr marL="100804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5957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10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" y="6478590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27072" y="1600200"/>
            <a:ext cx="11356757" cy="4577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652210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nd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392660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ark Band -side content">
    <p:bg>
      <p:bgPr>
        <a:gradFill>
          <a:gsLst>
            <a:gs pos="75000">
              <a:srgbClr val="002050"/>
            </a:gs>
            <a:gs pos="75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3204861"/>
            <a:ext cx="4572000" cy="576631"/>
          </a:xfrm>
        </p:spPr>
        <p:txBody>
          <a:bodyPr vert="horz" wrap="square" lIns="146304" tIns="91440" rIns="146304" bIns="91440" rtlCol="0" anchor="ctr">
            <a:spAutoFit/>
          </a:bodyPr>
          <a:lstStyle>
            <a:lvl1pPr marL="457112" indent="-457112">
              <a:spcBef>
                <a:spcPts val="2400"/>
              </a:spcBef>
              <a:buClr>
                <a:srgbClr val="B4A0FF"/>
              </a:buClr>
              <a:buFont typeface="Webdings" panose="05030102010509060703" pitchFamily="18" charset="2"/>
              <a:buChar char="4"/>
              <a:defRPr lang="en-US" sz="2856" kern="1200" spc="0" baseline="0" dirty="0" smtClean="0">
                <a:solidFill>
                  <a:schemeClr val="tx1"/>
                </a:solidFill>
                <a:latin typeface="Segoe UI Light"/>
                <a:ea typeface="+mn-ea"/>
                <a:cs typeface="+mn-cs"/>
              </a:defRPr>
            </a:lvl1pPr>
            <a:lvl2pPr marL="685668" indent="0"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2856" smtClean="0">
                <a:solidFill>
                  <a:prstClr val="white"/>
                </a:solidFill>
                <a:latin typeface="Segoe UI Light"/>
              </a:defRPr>
            </a:lvl3pPr>
            <a:lvl4pPr>
              <a:defRPr lang="en-US" sz="1400" smtClean="0">
                <a:solidFill>
                  <a:schemeClr val="bg1">
                    <a:lumMod val="85000"/>
                  </a:schemeClr>
                </a:solidFill>
              </a:defRPr>
            </a:lvl4pPr>
            <a:lvl5pPr>
              <a:defRPr lang="en-US" sz="140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marL="0" lvl="0" indent="0"/>
            <a:r>
              <a:rPr lang="en-US" dirty="0"/>
              <a:t>Edit Master text styles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74639" y="1052513"/>
            <a:ext cx="11704637" cy="580223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2800" dirty="0" smtClean="0">
                <a:solidFill>
                  <a:srgbClr val="0070C0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5185931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ark Band -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3194209"/>
            <a:ext cx="4572000" cy="576631"/>
          </a:xfrm>
        </p:spPr>
        <p:txBody>
          <a:bodyPr vert="horz" wrap="square" lIns="146304" tIns="91440" rIns="146304" bIns="91440" rtlCol="0" anchor="ctr">
            <a:spAutoFit/>
          </a:bodyPr>
          <a:lstStyle>
            <a:lvl1pPr marL="457112" indent="-457112">
              <a:spcBef>
                <a:spcPts val="2400"/>
              </a:spcBef>
              <a:buClr>
                <a:srgbClr val="B4A0FF"/>
              </a:buClr>
              <a:buFont typeface="Webdings" panose="05030102010509060703" pitchFamily="18" charset="2"/>
              <a:buChar char="4"/>
              <a:defRPr lang="en-US" sz="2856" kern="1200" spc="0" baseline="0" dirty="0" smtClean="0">
                <a:solidFill>
                  <a:prstClr val="white"/>
                </a:solidFill>
                <a:latin typeface="Segoe UI Light"/>
                <a:ea typeface="+mn-ea"/>
                <a:cs typeface="+mn-cs"/>
              </a:defRPr>
            </a:lvl1pPr>
            <a:lvl2pPr marL="448193" indent="-676959">
              <a:buNone/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2856" smtClean="0">
                <a:solidFill>
                  <a:prstClr val="white"/>
                </a:solidFill>
                <a:latin typeface="Segoe UI Light"/>
              </a:defRPr>
            </a:lvl3pPr>
            <a:lvl4pPr>
              <a:defRPr lang="en-US" sz="1400" smtClean="0">
                <a:solidFill>
                  <a:schemeClr val="bg1">
                    <a:lumMod val="85000"/>
                  </a:schemeClr>
                </a:solidFill>
              </a:defRPr>
            </a:lvl4pPr>
            <a:lvl5pPr>
              <a:defRPr lang="en-US" sz="140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marL="0" lvl="0" indent="0"/>
            <a:r>
              <a:rPr lang="en-US" dirty="0"/>
              <a:t>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4043847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 Band -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6523" y="1531610"/>
            <a:ext cx="5650637" cy="1864682"/>
          </a:xfrm>
        </p:spPr>
        <p:txBody>
          <a:bodyPr/>
          <a:lstStyle>
            <a:lvl1pPr marL="0" indent="0">
              <a:spcBef>
                <a:spcPts val="240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buClr>
                <a:schemeClr val="accent5"/>
              </a:buClr>
              <a:buFont typeface="Segoe UI" panose="020B0502040204020203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>
              <a:buNone/>
              <a:defRPr sz="1800">
                <a:solidFill>
                  <a:schemeClr val="tx1"/>
                </a:solidFill>
              </a:defRPr>
            </a:lvl3pPr>
            <a:lvl4pPr marL="0" indent="0">
              <a:buNone/>
              <a:defRPr sz="1600">
                <a:solidFill>
                  <a:schemeClr val="tx1"/>
                </a:solidFill>
              </a:defRPr>
            </a:lvl4pPr>
            <a:lvl5pPr marL="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1554260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nd + sub ">
    <p:bg>
      <p:bgPr>
        <a:gradFill>
          <a:gsLst>
            <a:gs pos="75000">
              <a:srgbClr val="002050"/>
            </a:gs>
            <a:gs pos="75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8086803" y="-1887580"/>
            <a:ext cx="1524000" cy="1524000"/>
          </a:xfrm>
          <a:prstGeom prst="rect">
            <a:avLst/>
          </a:prstGeom>
          <a:solidFill>
            <a:srgbClr val="02162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9890551" y="-1872966"/>
            <a:ext cx="1524000" cy="152400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639" y="1052513"/>
            <a:ext cx="11704637" cy="580223"/>
          </a:xfrm>
        </p:spPr>
        <p:txBody>
          <a:bodyPr vert="horz" wrap="square" lIns="146304" tIns="91440" rIns="146304" bIns="91440" rtlCol="0">
            <a:spAutoFit/>
          </a:bodyPr>
          <a:lstStyle>
            <a:lvl1pPr marL="0" indent="0">
              <a:buNone/>
              <a:defRPr lang="en-US" sz="2800" dirty="0" smtClean="0">
                <a:solidFill>
                  <a:srgbClr val="0070C0"/>
                </a:solidFill>
              </a:defRPr>
            </a:lvl1pPr>
          </a:lstStyle>
          <a:p>
            <a:pPr marL="336015" lvl="0" indent="-336015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884578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ARK BAND - side text">
    <p:bg>
      <p:bgPr>
        <a:gradFill>
          <a:gsLst>
            <a:gs pos="75000">
              <a:srgbClr val="002050"/>
            </a:gs>
            <a:gs pos="75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8086803" y="-1887580"/>
            <a:ext cx="1524000" cy="1524000"/>
          </a:xfrm>
          <a:prstGeom prst="rect">
            <a:avLst/>
          </a:prstGeom>
          <a:solidFill>
            <a:srgbClr val="02162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9890551" y="-1872966"/>
            <a:ext cx="1524000" cy="152400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639" y="1052513"/>
            <a:ext cx="11704637" cy="572464"/>
          </a:xfrm>
        </p:spPr>
        <p:txBody>
          <a:bodyPr/>
          <a:lstStyle>
            <a:lvl1pPr marL="0" indent="0">
              <a:buNone/>
              <a:defRPr sz="2800">
                <a:solidFill>
                  <a:srgbClr val="0070C0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8" y="2093973"/>
            <a:ext cx="11704637" cy="1906929"/>
          </a:xfrm>
        </p:spPr>
        <p:txBody>
          <a:bodyPr/>
          <a:lstStyle>
            <a:lvl1pPr marL="0" indent="0">
              <a:buFontTx/>
              <a:buNone/>
              <a:defRPr sz="3600">
                <a:solidFill>
                  <a:srgbClr val="00BCF2"/>
                </a:solidFill>
              </a:defRPr>
            </a:lvl1pPr>
            <a:lvl2pPr marL="0" indent="0">
              <a:spcAft>
                <a:spcPts val="600"/>
              </a:spcAft>
              <a:buFontTx/>
              <a:buNone/>
              <a:defRPr sz="1961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1765">
                <a:solidFill>
                  <a:schemeClr val="tx1"/>
                </a:solidFill>
              </a:defRPr>
            </a:lvl3pPr>
            <a:lvl4pPr marL="0" indent="0">
              <a:buFontTx/>
              <a:buNone/>
              <a:defRPr sz="1568">
                <a:solidFill>
                  <a:schemeClr val="tx1"/>
                </a:solidFill>
              </a:defRPr>
            </a:lvl4pPr>
            <a:lvl5pPr marL="0" indent="0">
              <a:buFontTx/>
              <a:buNone/>
              <a:defRPr sz="15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0252478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ARK BAND - side text">
    <p:bg>
      <p:bgPr>
        <a:gradFill>
          <a:gsLst>
            <a:gs pos="75000">
              <a:srgbClr val="002050"/>
            </a:gs>
            <a:gs pos="75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8086803" y="-1887580"/>
            <a:ext cx="1524000" cy="1524000"/>
          </a:xfrm>
          <a:prstGeom prst="rect">
            <a:avLst/>
          </a:prstGeom>
          <a:solidFill>
            <a:srgbClr val="02162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9890551" y="-1872966"/>
            <a:ext cx="1524000" cy="152400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639" y="1052513"/>
            <a:ext cx="11704637" cy="572464"/>
          </a:xfrm>
        </p:spPr>
        <p:txBody>
          <a:bodyPr/>
          <a:lstStyle>
            <a:lvl1pPr marL="0" indent="0">
              <a:buNone/>
              <a:defRPr sz="2800">
                <a:solidFill>
                  <a:srgbClr val="0070C0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8" y="2093973"/>
            <a:ext cx="11704637" cy="1906929"/>
          </a:xfrm>
        </p:spPr>
        <p:txBody>
          <a:bodyPr/>
          <a:lstStyle>
            <a:lvl1pPr marL="0" indent="0">
              <a:buFontTx/>
              <a:buNone/>
              <a:defRPr sz="3600">
                <a:solidFill>
                  <a:schemeClr val="tx1"/>
                </a:solidFill>
              </a:defRPr>
            </a:lvl1pPr>
            <a:lvl2pPr marL="0" indent="0">
              <a:spcAft>
                <a:spcPts val="600"/>
              </a:spcAft>
              <a:buFontTx/>
              <a:buNone/>
              <a:defRPr sz="1961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1765">
                <a:solidFill>
                  <a:schemeClr val="tx1"/>
                </a:solidFill>
              </a:defRPr>
            </a:lvl3pPr>
            <a:lvl4pPr marL="0" indent="0">
              <a:buFontTx/>
              <a:buNone/>
              <a:defRPr sz="1568">
                <a:solidFill>
                  <a:schemeClr val="tx1"/>
                </a:solidFill>
              </a:defRPr>
            </a:lvl4pPr>
            <a:lvl5pPr marL="0" indent="0">
              <a:buFontTx/>
              <a:buNone/>
              <a:defRPr sz="15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7934969"/>
      </p:ext>
    </p:extLst>
  </p:cSld>
  <p:clrMapOvr>
    <a:masterClrMapping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ND - side text">
    <p:bg>
      <p:bgPr>
        <a:gradFill>
          <a:gsLst>
            <a:gs pos="75000">
              <a:srgbClr val="002050"/>
            </a:gs>
            <a:gs pos="75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8086803" y="-1887580"/>
            <a:ext cx="1524000" cy="1524000"/>
          </a:xfrm>
          <a:prstGeom prst="rect">
            <a:avLst/>
          </a:prstGeom>
          <a:solidFill>
            <a:srgbClr val="02162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9890551" y="-1872966"/>
            <a:ext cx="1524000" cy="152400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639" y="1052513"/>
            <a:ext cx="11704637" cy="572464"/>
          </a:xfrm>
        </p:spPr>
        <p:txBody>
          <a:bodyPr/>
          <a:lstStyle>
            <a:lvl1pPr marL="0" indent="0">
              <a:buNone/>
              <a:defRPr sz="2800">
                <a:solidFill>
                  <a:srgbClr val="0070C0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8" y="2125663"/>
            <a:ext cx="4700831" cy="1805623"/>
          </a:xfrm>
        </p:spPr>
        <p:txBody>
          <a:bodyPr/>
          <a:lstStyle>
            <a:lvl1pPr marL="0" indent="0">
              <a:buFontTx/>
              <a:buNone/>
              <a:defRPr sz="3600">
                <a:solidFill>
                  <a:srgbClr val="00BCF2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756766"/>
      </p:ext>
    </p:extLst>
  </p:cSld>
  <p:clrMapOvr>
    <a:masterClrMapping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ARK BAND - side text">
    <p:bg>
      <p:bgPr>
        <a:gradFill>
          <a:gsLst>
            <a:gs pos="75000">
              <a:srgbClr val="002050"/>
            </a:gs>
            <a:gs pos="75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8086803" y="-1887580"/>
            <a:ext cx="1524000" cy="1524000"/>
          </a:xfrm>
          <a:prstGeom prst="rect">
            <a:avLst/>
          </a:prstGeom>
          <a:solidFill>
            <a:srgbClr val="02162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 bwMode="auto">
          <a:xfrm>
            <a:off x="9890551" y="-1872966"/>
            <a:ext cx="1524000" cy="152400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70" tIns="45713" rIns="68570" bIns="45713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5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5417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639" y="1052513"/>
            <a:ext cx="11704637" cy="572464"/>
          </a:xfrm>
        </p:spPr>
        <p:txBody>
          <a:bodyPr/>
          <a:lstStyle>
            <a:lvl1pPr marL="0" indent="0">
              <a:buNone/>
              <a:defRPr sz="2800">
                <a:solidFill>
                  <a:srgbClr val="0070C0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8" y="2089801"/>
            <a:ext cx="5486400" cy="1805623"/>
          </a:xfrm>
        </p:spPr>
        <p:txBody>
          <a:bodyPr/>
          <a:lstStyle>
            <a:lvl1pPr marL="0" indent="0">
              <a:buFontTx/>
              <a:buNone/>
              <a:defRPr sz="3600">
                <a:solidFill>
                  <a:srgbClr val="00BCF2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258187" y="2089801"/>
            <a:ext cx="5486400" cy="1805623"/>
          </a:xfrm>
        </p:spPr>
        <p:txBody>
          <a:bodyPr/>
          <a:lstStyle>
            <a:lvl1pPr marL="0" indent="0">
              <a:buFontTx/>
              <a:buNone/>
              <a:defRPr sz="3600">
                <a:solidFill>
                  <a:srgbClr val="00BCF2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835304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1557" y="1531610"/>
            <a:ext cx="11653523" cy="2297873"/>
          </a:xfrm>
        </p:spPr>
        <p:txBody>
          <a:bodyPr>
            <a:spAutoFit/>
          </a:bodyPr>
          <a:lstStyle>
            <a:lvl1pPr>
              <a:defRPr sz="3919"/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662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" y="6478590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6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903186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44170"/>
            <a:ext cx="3854627" cy="244855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60961" y="1544170"/>
            <a:ext cx="3854627" cy="244855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052679" y="1544170"/>
            <a:ext cx="3854627" cy="244855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596131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467679"/>
      </p:ext>
    </p:extLst>
  </p:cSld>
  <p:clrMapOvr>
    <a:masterClrMapping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8187658" y="481157"/>
            <a:ext cx="3316475" cy="159334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941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231192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7868" y="2084174"/>
            <a:ext cx="1129489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4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18616585"/>
      </p:ext>
    </p:extLst>
  </p:cSld>
  <p:clrMapOvr>
    <a:masterClrMapping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6919" y="2084174"/>
            <a:ext cx="11175844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4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7509" y="4146553"/>
            <a:ext cx="10487801" cy="910337"/>
          </a:xfrm>
        </p:spPr>
        <p:txBody>
          <a:bodyPr/>
          <a:lstStyle>
            <a:lvl1pPr marL="0" indent="0">
              <a:buNone/>
              <a:defRPr sz="3137"/>
            </a:lvl1pPr>
            <a:lvl2pPr marL="0" indent="0">
              <a:buNone/>
              <a:defRPr sz="1765"/>
            </a:lvl2pPr>
            <a:lvl3pPr marL="0" indent="0">
              <a:buNone/>
              <a:defRPr sz="1568"/>
            </a:lvl3pPr>
            <a:lvl4pPr marL="0" indent="0">
              <a:buNone/>
              <a:defRPr sz="1372"/>
            </a:lvl4pPr>
            <a:lvl5pPr marL="0" indent="0">
              <a:buNone/>
              <a:defRPr sz="1372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65716583"/>
      </p:ext>
    </p:extLst>
  </p:cSld>
  <p:clrMapOvr>
    <a:masterClrMapping/>
  </p:clrMapOvr>
  <p:transition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1898699"/>
      </p:ext>
    </p:extLst>
  </p:cSld>
  <p:clrMapOvr>
    <a:masterClrMapping/>
  </p:clrMapOvr>
  <p:transition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7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6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black">
          <a:xfrm>
            <a:off x="450205" y="3083652"/>
            <a:ext cx="3048099" cy="654483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1854127817"/>
      </p:ext>
    </p:extLst>
  </p:cSld>
  <p:clrMapOvr>
    <a:masterClrMapping/>
  </p:clrMapOvr>
  <p:transition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9"/>
            <a:ext cx="11653523" cy="2424715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751639"/>
      </p:ext>
    </p:extLst>
  </p:cSld>
  <p:clrMapOvr>
    <a:masterClrMapping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94485-CA4A-4368-A62B-0539F6005CC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643FF-3D12-4703-8795-DCDF6880A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2800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defTabSz="914201">
              <a:defRPr/>
            </a:pPr>
            <a:fld id="{4CED8391-71CF-4FD3-A093-40D26DE2D47C}" type="slidenum">
              <a:rPr lang="en-US" sz="1200" smtClean="0">
                <a:solidFill>
                  <a:srgbClr val="00188F"/>
                </a:solidFill>
              </a:rPr>
              <a:pPr algn="r" defTabSz="914201">
                <a:defRPr/>
              </a:pPr>
              <a:t>‹#›</a:t>
            </a:fld>
            <a:endParaRPr lang="en-US" sz="1200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84175" y="1181101"/>
            <a:ext cx="11234738" cy="21895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633420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3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9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0365071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2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3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1793020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1786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32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1769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9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2775" spc="-45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386434126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6956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1200"/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3884172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00540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7885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21484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81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99"/>
            </a:lvl2pPr>
            <a:lvl3pPr marL="168013" indent="0">
              <a:buNone/>
              <a:defRPr/>
            </a:lvl3pPr>
            <a:lvl4pPr marL="336024" indent="0">
              <a:buNone/>
              <a:defRPr/>
            </a:lvl4pPr>
            <a:lvl5pPr marL="504036" indent="0">
              <a:buNone/>
              <a:defRPr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99495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6347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81616" tIns="40808" rIns="81616" bIns="40808" rtlCol="0" anchor="ctr">
            <a:normAutofit/>
          </a:bodyPr>
          <a:lstStyle/>
          <a:p>
            <a:pPr defTabSz="816079"/>
            <a:r>
              <a:rPr lang="en-US" sz="15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</p:spTree>
    <p:extLst>
      <p:ext uri="{BB962C8B-B14F-4D97-AF65-F5344CB8AC3E}">
        <p14:creationId xmlns:p14="http://schemas.microsoft.com/office/powerpoint/2010/main" val="22412491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XAMPLE ONLY: 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6" y="198357"/>
            <a:ext cx="1947103" cy="716042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82880" rIns="146304" bIns="9144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9144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929068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EXAMPLE ONLY: 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1" y="200779"/>
            <a:ext cx="1947103" cy="716042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82880" rIns="146304" bIns="9144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9144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1793895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3300" spc="-74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211256" indent="0">
              <a:buNone/>
              <a:defRPr sz="1500">
                <a:solidFill>
                  <a:schemeClr val="bg1"/>
                </a:solidFill>
              </a:defRPr>
            </a:lvl2pPr>
            <a:lvl3pPr marL="441357" indent="0">
              <a:buNone/>
              <a:defRPr sz="1500">
                <a:solidFill>
                  <a:schemeClr val="bg1"/>
                </a:solidFill>
              </a:defRPr>
            </a:lvl3pPr>
            <a:lvl4pPr marL="652613" indent="0">
              <a:buNone/>
              <a:defRPr sz="1500">
                <a:solidFill>
                  <a:schemeClr val="bg1"/>
                </a:solidFill>
              </a:defRPr>
            </a:lvl4pPr>
            <a:lvl5pPr marL="829155" indent="0"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1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9955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127" userDrawn="1">
          <p15:clr>
            <a:srgbClr val="5ACBF0"/>
          </p15:clr>
        </p15:guide>
        <p15:guide id="2" pos="895" userDrawn="1">
          <p15:clr>
            <a:srgbClr val="5ACBF0"/>
          </p15:clr>
        </p15:guide>
        <p15:guide id="3" pos="1663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3199" userDrawn="1">
          <p15:clr>
            <a:srgbClr val="5ACBF0"/>
          </p15:clr>
        </p15:guide>
        <p15:guide id="6" pos="3967" userDrawn="1">
          <p15:clr>
            <a:srgbClr val="5ACBF0"/>
          </p15:clr>
        </p15:guide>
        <p15:guide id="7" pos="4735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6379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036186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67272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4564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zh-TW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1125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44135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652613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829155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7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Segoe UI Light" pitchFamily="34" charset="0"/>
              </a:defRPr>
            </a:lvl1pPr>
            <a:lvl2pPr marL="211256" indent="0">
              <a:buNone/>
              <a:defRPr/>
            </a:lvl2pPr>
            <a:lvl3pPr marL="441357" indent="0">
              <a:buNone/>
              <a:defRPr/>
            </a:lvl3pPr>
            <a:lvl4pPr marL="652613" indent="0">
              <a:buNone/>
              <a:defRPr/>
            </a:lvl4pPr>
            <a:lvl5pPr marL="82915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41327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52439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3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9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8144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2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3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4665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8770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454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9006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5156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D6C59F0-2087-4EE3-BCA2-48EE6304AE6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5853838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29499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376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2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9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2775" spc="-45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317572198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34" tIns="28567" rIns="57134" bIns="28567" rtlCol="0" anchor="ctr"/>
          <a:lstStyle/>
          <a:p>
            <a:pPr algn="ctr" defTabSz="816079"/>
            <a:endParaRPr lang="en-US" sz="165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4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398867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 Light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2" descr="C:\Users\adi\Desktop\MS_Volume_Licensin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4618" y="6433205"/>
            <a:ext cx="2520092" cy="211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00219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" y="3009"/>
            <a:ext cx="12189936" cy="68519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48214" y="468338"/>
            <a:ext cx="1522404" cy="3261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2980724"/>
            <a:ext cx="3585700" cy="3586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82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48" b="8215"/>
          <a:stretch/>
        </p:blipFill>
        <p:spPr>
          <a:xfrm>
            <a:off x="7459" y="6624"/>
            <a:ext cx="12184541" cy="685137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40" y="2980725"/>
            <a:ext cx="7171399" cy="3592580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100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980739"/>
            <a:ext cx="7171336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4780202"/>
            <a:ext cx="7171336" cy="123655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7684" y="6026624"/>
            <a:ext cx="7172955" cy="537931"/>
          </a:xfrm>
        </p:spPr>
        <p:txBody>
          <a:bodyPr lIns="182880" tIns="146304" rIns="182880" bIns="146304"/>
          <a:lstStyle>
            <a:lvl1pPr marL="0" indent="0" algn="r">
              <a:buNone/>
              <a:defRPr sz="1765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n-lt"/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 dirty="0"/>
              <a:t>Insert Session Code He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48214" y="470067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64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" y="-5828"/>
            <a:ext cx="12211022" cy="686383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auto">
          <a:xfrm rot="16200000">
            <a:off x="-159333" y="154447"/>
            <a:ext cx="6863830" cy="6543267"/>
          </a:xfrm>
          <a:prstGeom prst="rect">
            <a:avLst/>
          </a:prstGeom>
          <a:gradFill>
            <a:gsLst>
              <a:gs pos="1250">
                <a:schemeClr val="accent6">
                  <a:alpha val="76000"/>
                </a:schemeClr>
              </a:gs>
              <a:gs pos="100000">
                <a:schemeClr val="accent6">
                  <a:alpha val="0"/>
                </a:scheme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856" y="476578"/>
            <a:ext cx="1522404" cy="32616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988438"/>
            <a:ext cx="7169557" cy="1806942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988451"/>
            <a:ext cx="7171336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accent6"/>
                    </a:gs>
                    <a:gs pos="0">
                      <a:schemeClr val="accent6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4795386"/>
            <a:ext cx="7172955" cy="122061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00000">
                      <a:schemeClr val="accent6"/>
                    </a:gs>
                    <a:gs pos="0">
                      <a:schemeClr val="accent6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7398" y="6022353"/>
            <a:ext cx="7173240" cy="559522"/>
          </a:xfrm>
        </p:spPr>
        <p:txBody>
          <a:bodyPr vert="horz" wrap="square" lIns="182880" tIns="146304" rIns="182880" bIns="146304" rtlCol="0">
            <a:noAutofit/>
          </a:bodyPr>
          <a:lstStyle>
            <a:lvl1pPr marL="336080" indent="-336080" algn="r">
              <a:buNone/>
              <a:defRPr lang="en-US" sz="1765" dirty="0" smtClean="0">
                <a:gradFill>
                  <a:gsLst>
                    <a:gs pos="1250">
                      <a:schemeClr val="accent6"/>
                    </a:gs>
                    <a:gs pos="100000">
                      <a:schemeClr val="accent6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marL="0" lvl="0" indent="0"/>
            <a:r>
              <a:rPr lang="en-US" dirty="0"/>
              <a:t>Insert 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39705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90" y="-5828"/>
            <a:ext cx="12211022" cy="686383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269239" y="2974354"/>
            <a:ext cx="7169557" cy="359258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3405" y="473036"/>
            <a:ext cx="1522404" cy="32627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980725"/>
            <a:ext cx="7171336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775113"/>
            <a:ext cx="7171337" cy="1239568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b="0" spc="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6398" y="6021842"/>
            <a:ext cx="7164240" cy="537931"/>
          </a:xfrm>
        </p:spPr>
        <p:txBody>
          <a:bodyPr vert="horz" wrap="square" lIns="182880" tIns="146304" rIns="182880" bIns="146304" rtlCol="0">
            <a:noAutofit/>
          </a:bodyPr>
          <a:lstStyle>
            <a:lvl1pPr marL="336080" indent="-336080" algn="r">
              <a:buNone/>
              <a:defRPr lang="en-US" sz="1765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/>
            <a:r>
              <a:rPr lang="en-US" dirty="0"/>
              <a:t>Insert 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42720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10"/>
            <a:ext cx="12192000" cy="685198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auto">
          <a:xfrm>
            <a:off x="4751363" y="1186357"/>
            <a:ext cx="7171399" cy="4484025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51363" y="1186357"/>
            <a:ext cx="7171399" cy="2706373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69" y="3892729"/>
            <a:ext cx="7170692" cy="1777652"/>
          </a:xfrm>
          <a:noFill/>
        </p:spPr>
        <p:txBody>
          <a:bodyPr wrap="square"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1863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3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9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78837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10"/>
            <a:ext cx="12192000" cy="685198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4751363" y="1186357"/>
            <a:ext cx="7171399" cy="4484025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51363" y="1201815"/>
            <a:ext cx="7171399" cy="4484025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accent6"/>
                    </a:gs>
                    <a:gs pos="100000">
                      <a:schemeClr val="accent6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753955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54" indent="0">
              <a:buNone/>
              <a:defRPr>
                <a:solidFill>
                  <a:schemeClr val="bg1"/>
                </a:solidFill>
              </a:defRPr>
            </a:lvl3pPr>
            <a:lvl4pPr marL="448107" indent="0">
              <a:buNone/>
              <a:defRPr>
                <a:solidFill>
                  <a:schemeClr val="bg1"/>
                </a:solidFill>
              </a:defRPr>
            </a:lvl4pPr>
            <a:lvl5pPr marL="67216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749897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126300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Non-bulleted text">
    <p:bg>
      <p:bgPr>
        <a:gradFill>
          <a:gsLst>
            <a:gs pos="80000">
              <a:srgbClr val="002050"/>
            </a:gs>
            <a:gs pos="80000">
              <a:schemeClr val="bg1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96131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Non-bulleted text">
    <p:bg>
      <p:bgPr>
        <a:gradFill>
          <a:gsLst>
            <a:gs pos="75000">
              <a:srgbClr val="002050"/>
            </a:gs>
            <a:gs pos="75000">
              <a:schemeClr val="bg1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5177" y="292609"/>
            <a:ext cx="4652556" cy="9398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zure </a:t>
            </a:r>
            <a:r>
              <a:rPr kumimoji="0" lang="en-US" sz="5399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oT</a:t>
            </a:r>
            <a:r>
              <a:rPr kumimoji="0" lang="en-US" sz="53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Suit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430545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7487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2226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5382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53684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06857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2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5325" spc="-74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3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1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44" tIns="107555" rIns="134444" bIns="1075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0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617283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50044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63918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9717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>
          <a:gsLst>
            <a:gs pos="75000">
              <a:srgbClr val="002050"/>
            </a:gs>
            <a:gs pos="75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63748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211237"/>
            <a:ext cx="11655840" cy="899665"/>
          </a:xfrm>
        </p:spPr>
        <p:txBody>
          <a:bodyPr/>
          <a:lstStyle>
            <a:lvl1pPr>
              <a:defRPr sz="705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794439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905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7940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99491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2090" y="2084172"/>
            <a:ext cx="8067823" cy="1793105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5881" spc="-98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152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-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2090" y="2084172"/>
            <a:ext cx="8067823" cy="1793105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5881" spc="-98" baseline="0">
                <a:gradFill>
                  <a:gsLst>
                    <a:gs pos="100000">
                      <a:schemeClr val="accent6"/>
                    </a:gs>
                    <a:gs pos="0">
                      <a:schemeClr val="accent6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618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6450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42821" indent="-142821">
              <a:lnSpc>
                <a:spcPct val="80000"/>
              </a:lnSpc>
              <a:buNone/>
              <a:defRPr lang="en-US" sz="15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816079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altLang="zh-TW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2441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65663" y="1203080"/>
            <a:ext cx="9860674" cy="896553"/>
          </a:xfrm>
        </p:spPr>
        <p:txBody>
          <a:bodyPr/>
          <a:lstStyle>
            <a:lvl1pPr marL="278511" indent="-278511">
              <a:defRPr sz="5881" baseline="0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89287"/>
            <a:ext cx="5378549" cy="1050156"/>
          </a:xfrm>
        </p:spPr>
        <p:txBody>
          <a:bodyPr/>
          <a:lstStyle>
            <a:lvl1pPr marL="0" indent="0">
              <a:buNone/>
              <a:defRPr sz="3136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 dirty="0"/>
              <a:t>Author’s 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190441736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-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65663" y="2084174"/>
            <a:ext cx="9860674" cy="896553"/>
          </a:xfrm>
        </p:spPr>
        <p:txBody>
          <a:bodyPr/>
          <a:lstStyle>
            <a:lvl1pPr marL="169597" indent="-169597">
              <a:defRPr sz="5881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“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89287"/>
            <a:ext cx="5378549" cy="1050156"/>
          </a:xfrm>
        </p:spPr>
        <p:txBody>
          <a:bodyPr/>
          <a:lstStyle>
            <a:lvl1pPr marL="0" indent="0">
              <a:buNone/>
              <a:defRPr sz="3136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 dirty="0"/>
              <a:t>Author’s 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514958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211237"/>
            <a:ext cx="11655840" cy="899665"/>
          </a:xfrm>
        </p:spPr>
        <p:txBody>
          <a:bodyPr/>
          <a:lstStyle>
            <a:lvl1pPr>
              <a:defRPr sz="7056"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2411635"/>
            <a:ext cx="11653523" cy="914360"/>
          </a:xfrm>
        </p:spPr>
        <p:txBody>
          <a:bodyPr/>
          <a:lstStyle>
            <a:lvl1pPr marL="0" indent="0">
              <a:buNone/>
              <a:defRPr sz="529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4409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0903" y="-7782"/>
            <a:ext cx="6112654" cy="687185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71100" y="1"/>
            <a:ext cx="6120900" cy="7277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59349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Lef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65240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858"/>
            <a:ext cx="6117990" cy="687785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-20235"/>
            <a:ext cx="6117789" cy="72424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9053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019079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1168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287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634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91012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5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32.xml"/><Relationship Id="rId9" Type="http://schemas.openxmlformats.org/officeDocument/2006/relationships/image" Target="../media/image9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slideLayout" Target="../slideLayouts/slideLayout248.xml"/><Relationship Id="rId18" Type="http://schemas.openxmlformats.org/officeDocument/2006/relationships/slideLayout" Target="../slideLayouts/slideLayout253.xml"/><Relationship Id="rId26" Type="http://schemas.openxmlformats.org/officeDocument/2006/relationships/theme" Target="../theme/theme11.xml"/><Relationship Id="rId3" Type="http://schemas.openxmlformats.org/officeDocument/2006/relationships/slideLayout" Target="../slideLayouts/slideLayout238.xml"/><Relationship Id="rId21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17" Type="http://schemas.openxmlformats.org/officeDocument/2006/relationships/slideLayout" Target="../slideLayouts/slideLayout252.xml"/><Relationship Id="rId25" Type="http://schemas.openxmlformats.org/officeDocument/2006/relationships/slideLayout" Target="../slideLayouts/slideLayout260.xml"/><Relationship Id="rId2" Type="http://schemas.openxmlformats.org/officeDocument/2006/relationships/slideLayout" Target="../slideLayouts/slideLayout237.xml"/><Relationship Id="rId16" Type="http://schemas.openxmlformats.org/officeDocument/2006/relationships/slideLayout" Target="../slideLayouts/slideLayout251.xml"/><Relationship Id="rId20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24" Type="http://schemas.openxmlformats.org/officeDocument/2006/relationships/slideLayout" Target="../slideLayouts/slideLayout259.xml"/><Relationship Id="rId5" Type="http://schemas.openxmlformats.org/officeDocument/2006/relationships/slideLayout" Target="../slideLayouts/slideLayout240.xml"/><Relationship Id="rId15" Type="http://schemas.openxmlformats.org/officeDocument/2006/relationships/slideLayout" Target="../slideLayouts/slideLayout250.xml"/><Relationship Id="rId23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45.xml"/><Relationship Id="rId19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49.xml"/><Relationship Id="rId22" Type="http://schemas.openxmlformats.org/officeDocument/2006/relationships/slideLayout" Target="../slideLayouts/slideLayout257.xml"/><Relationship Id="rId27" Type="http://schemas.openxmlformats.org/officeDocument/2006/relationships/image" Target="../media/image9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63.xml"/><Relationship Id="rId21" Type="http://schemas.openxmlformats.org/officeDocument/2006/relationships/slideLayout" Target="../slideLayouts/slideLayout281.xml"/><Relationship Id="rId7" Type="http://schemas.openxmlformats.org/officeDocument/2006/relationships/slideLayout" Target="../slideLayouts/slideLayout267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80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265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10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13" Type="http://schemas.openxmlformats.org/officeDocument/2006/relationships/slideLayout" Target="../slideLayouts/slideLayout317.xml"/><Relationship Id="rId18" Type="http://schemas.openxmlformats.org/officeDocument/2006/relationships/slideLayout" Target="../slideLayouts/slideLayout322.xml"/><Relationship Id="rId26" Type="http://schemas.openxmlformats.org/officeDocument/2006/relationships/theme" Target="../theme/theme14.xml"/><Relationship Id="rId3" Type="http://schemas.openxmlformats.org/officeDocument/2006/relationships/slideLayout" Target="../slideLayouts/slideLayout307.xml"/><Relationship Id="rId21" Type="http://schemas.openxmlformats.org/officeDocument/2006/relationships/slideLayout" Target="../slideLayouts/slideLayout325.xml"/><Relationship Id="rId7" Type="http://schemas.openxmlformats.org/officeDocument/2006/relationships/slideLayout" Target="../slideLayouts/slideLayout311.xml"/><Relationship Id="rId12" Type="http://schemas.openxmlformats.org/officeDocument/2006/relationships/slideLayout" Target="../slideLayouts/slideLayout316.xml"/><Relationship Id="rId17" Type="http://schemas.openxmlformats.org/officeDocument/2006/relationships/slideLayout" Target="../slideLayouts/slideLayout321.xml"/><Relationship Id="rId25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06.xml"/><Relationship Id="rId16" Type="http://schemas.openxmlformats.org/officeDocument/2006/relationships/slideLayout" Target="../slideLayouts/slideLayout320.xml"/><Relationship Id="rId20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slideLayout" Target="../slideLayouts/slideLayout315.xml"/><Relationship Id="rId24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309.xml"/><Relationship Id="rId15" Type="http://schemas.openxmlformats.org/officeDocument/2006/relationships/slideLayout" Target="../slideLayouts/slideLayout319.xml"/><Relationship Id="rId23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14.xml"/><Relationship Id="rId19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Relationship Id="rId14" Type="http://schemas.openxmlformats.org/officeDocument/2006/relationships/slideLayout" Target="../slideLayouts/slideLayout318.xml"/><Relationship Id="rId22" Type="http://schemas.openxmlformats.org/officeDocument/2006/relationships/slideLayout" Target="../slideLayouts/slideLayout326.xml"/><Relationship Id="rId27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9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42" Type="http://schemas.openxmlformats.org/officeDocument/2006/relationships/slideLayout" Target="../slideLayouts/slideLayout106.xml"/><Relationship Id="rId47" Type="http://schemas.openxmlformats.org/officeDocument/2006/relationships/slideLayout" Target="../slideLayouts/slideLayout111.xml"/><Relationship Id="rId50" Type="http://schemas.openxmlformats.org/officeDocument/2006/relationships/image" Target="../media/image9.png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Relationship Id="rId46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41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40" Type="http://schemas.openxmlformats.org/officeDocument/2006/relationships/slideLayout" Target="../slideLayouts/slideLayout104.xml"/><Relationship Id="rId45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4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43" Type="http://schemas.openxmlformats.org/officeDocument/2006/relationships/slideLayout" Target="../slideLayouts/slideLayout107.xml"/><Relationship Id="rId48" Type="http://schemas.openxmlformats.org/officeDocument/2006/relationships/slideLayout" Target="../slideLayouts/slideLayout112.xml"/><Relationship Id="rId8" Type="http://schemas.openxmlformats.org/officeDocument/2006/relationships/slideLayout" Target="../slideLayouts/slideLayout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36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vmlDrawing" Target="../drawings/vmlDrawing5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34" Type="http://schemas.openxmlformats.org/officeDocument/2006/relationships/image" Target="../media/image9.png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29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32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31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slideLayout" Target="../slideLayouts/slideLayout180.xml"/><Relationship Id="rId30" Type="http://schemas.openxmlformats.org/officeDocument/2006/relationships/slideLayout" Target="../slideLayouts/slideLayout1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vmlDrawing" Target="../drawings/vmlDrawing7.v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205.xml"/><Relationship Id="rId29" Type="http://schemas.openxmlformats.org/officeDocument/2006/relationships/image" Target="../media/image26.jpeg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image" Target="../media/image25.emf"/><Relationship Id="rId10" Type="http://schemas.openxmlformats.org/officeDocument/2006/relationships/slideLayout" Target="../slideLayouts/slideLayout195.xml"/><Relationship Id="rId19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oleObject" Target="../embeddings/oleObject20.bin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tags" Target="../tags/tag20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vmlDrawing" Target="../drawings/vmlDrawing2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5" imgW="383" imgH="384" progId="TCLayout.ActiveDocument.1">
                  <p:embed/>
                </p:oleObj>
              </mc:Choice>
              <mc:Fallback>
                <p:oleObj name="think-cell Slide" r:id="rId2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05000" y="6477876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zh-TW" alt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3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5053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50922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832" r:id="rId19"/>
    <p:sldLayoutId id="2147483857" r:id="rId20"/>
    <p:sldLayoutId id="2147484064" r:id="rId21"/>
  </p:sldLayoutIdLst>
  <p:transition>
    <p:fade/>
  </p:transition>
  <p:hf hdr="0" ftr="0" dt="0"/>
  <p:txStyles>
    <p:titleStyle>
      <a:lvl1pPr marL="0" algn="l" defTabSz="816079" rtl="0" eaLnBrk="1" latinLnBrk="0" hangingPunct="1">
        <a:lnSpc>
          <a:spcPct val="90000"/>
        </a:lnSpc>
        <a:spcBef>
          <a:spcPct val="0"/>
        </a:spcBef>
        <a:buNone/>
        <a:defRPr lang="en-US" sz="3000" kern="1200" spc="-44" baseline="0" dirty="0">
          <a:solidFill>
            <a:schemeClr val="tx1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816079" rtl="0" eaLnBrk="1" latinLnBrk="0" hangingPunct="1">
        <a:spcBef>
          <a:spcPts val="1350"/>
        </a:spcBef>
        <a:buClr>
          <a:srgbClr val="0072C6"/>
        </a:buClr>
        <a:buSzPct val="100000"/>
        <a:buFont typeface="Wingdings" pitchFamily="2" charset="2"/>
        <a:buNone/>
        <a:defRPr sz="18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57053" indent="-145797" algn="l" defTabSz="816079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571284" indent="-129927" algn="l" defTabSz="81607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785516" indent="-132903" algn="l" defTabSz="816079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964042" indent="-134887" algn="l" defTabSz="816079" rtl="0" eaLnBrk="1" latinLnBrk="0" hangingPunct="1">
        <a:spcBef>
          <a:spcPct val="20000"/>
        </a:spcBef>
        <a:buFont typeface="Arial" pitchFamily="34" charset="0"/>
        <a:buChar char="»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244218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65225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06029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468336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0804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1607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1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3215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4019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44823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85627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1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735" userDrawn="1">
          <p15:clr>
            <a:srgbClr val="5ACBF0"/>
          </p15:clr>
        </p15:guide>
        <p15:guide id="2" pos="3967" userDrawn="1">
          <p15:clr>
            <a:srgbClr val="5ACBF0"/>
          </p15:clr>
        </p15:guide>
        <p15:guide id="3" pos="3199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1663" userDrawn="1">
          <p15:clr>
            <a:srgbClr val="5ACBF0"/>
          </p15:clr>
        </p15:guide>
        <p15:guide id="6" pos="895" userDrawn="1">
          <p15:clr>
            <a:srgbClr val="5ACBF0"/>
          </p15:clr>
        </p15:guide>
        <p15:guide id="7" pos="127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  <p15:guide id="15" orient="horz" pos="144" userDrawn="1">
          <p15:clr>
            <a:srgbClr val="5ACBF0"/>
          </p15:clr>
        </p15:guide>
        <p15:guide id="16" orient="horz" pos="720" userDrawn="1">
          <p15:clr>
            <a:srgbClr val="5ACBF0"/>
          </p15:clr>
        </p15:guide>
        <p15:guide id="17" orient="horz" pos="1296" userDrawn="1">
          <p15:clr>
            <a:srgbClr val="5ACBF0"/>
          </p15:clr>
        </p15:guide>
        <p15:guide id="18" orient="horz" pos="1872" userDrawn="1">
          <p15:clr>
            <a:srgbClr val="5ACBF0"/>
          </p15:clr>
        </p15:guide>
        <p15:guide id="19" orient="horz" pos="2448" userDrawn="1">
          <p15:clr>
            <a:srgbClr val="5ACBF0"/>
          </p15:clr>
        </p15:guide>
        <p15:guide id="20" orient="horz" pos="3024" userDrawn="1">
          <p15:clr>
            <a:srgbClr val="5ACBF0"/>
          </p15:clr>
        </p15:guide>
        <p15:guide id="21" orient="horz" pos="3600" userDrawn="1">
          <p15:clr>
            <a:srgbClr val="5ACBF0"/>
          </p15:clr>
        </p15:guide>
        <p15:guide id="22" orient="horz" pos="4176" userDrawn="1">
          <p15:clr>
            <a:srgbClr val="5ACBF0"/>
          </p15:clr>
        </p15:guide>
        <p15:guide id="23" pos="255" userDrawn="1">
          <p15:clr>
            <a:srgbClr val="F26B43"/>
          </p15:clr>
        </p15:guide>
        <p15:guide id="24" pos="9983" userDrawn="1">
          <p15:clr>
            <a:srgbClr val="F26B43"/>
          </p15:clr>
        </p15:guide>
        <p15:guide id="25" orient="horz" pos="240" userDrawn="1">
          <p15:clr>
            <a:srgbClr val="F26B43"/>
          </p15:clr>
        </p15:guide>
        <p15:guide id="26" orient="horz" pos="4080" userDrawn="1">
          <p15:clr>
            <a:srgbClr val="F26B43"/>
          </p15:clr>
        </p15:guide>
        <p15:guide id="27" pos="5119" userDrawn="1">
          <p15:clr>
            <a:srgbClr val="F26B43"/>
          </p15:clr>
        </p15:guide>
        <p15:guide id="28" orient="horz" pos="2160" userDrawn="1">
          <p15:clr>
            <a:srgbClr val="F26B43"/>
          </p15:clr>
        </p15:guide>
        <p15:guide id="29" orient="horz" pos="816" userDrawn="1">
          <p15:clr>
            <a:srgbClr val="F26B43"/>
          </p15:clr>
        </p15:guide>
        <p15:guide id="30" orient="horz" pos="1008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842" y="365781"/>
            <a:ext cx="10514316" cy="13245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842" y="1825791"/>
            <a:ext cx="10514316" cy="4350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843" y="6356803"/>
            <a:ext cx="2742188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294558-F853-46DA-845C-C38CC3592FCC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971" y="6356803"/>
            <a:ext cx="2742188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2245C-EB54-4275-9208-0D699625D4E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114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</p:sldLayoutIdLst>
  <p:txStyles>
    <p:titleStyle>
      <a:lvl1pPr algn="l" defTabSz="896386" rtl="0" eaLnBrk="1" latinLnBrk="0" hangingPunct="1">
        <a:lnSpc>
          <a:spcPct val="90000"/>
        </a:lnSpc>
        <a:spcBef>
          <a:spcPct val="0"/>
        </a:spcBef>
        <a:buNone/>
        <a:defRPr sz="43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4097" indent="-224097" algn="l" defTabSz="896386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745" kern="1200">
          <a:solidFill>
            <a:schemeClr val="tx1"/>
          </a:solidFill>
          <a:latin typeface="+mn-lt"/>
          <a:ea typeface="+mn-ea"/>
          <a:cs typeface="+mn-cs"/>
        </a:defRPr>
      </a:lvl1pPr>
      <a:lvl2pPr marL="672290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2pPr>
      <a:lvl3pPr marL="1120483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3pPr>
      <a:lvl4pPr marL="1568676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69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465062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913256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361449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809642" indent="-224097" algn="l" defTabSz="896386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8193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6386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4579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2773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0966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89159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37352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85545" algn="l" defTabSz="89638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73">
          <p15:clr>
            <a:srgbClr val="F26B43"/>
          </p15:clr>
        </p15:guide>
        <p15:guide id="2" pos="269">
          <p15:clr>
            <a:srgbClr val="F26B43"/>
          </p15:clr>
        </p15:guide>
        <p15:guide id="3" pos="7661">
          <p15:clr>
            <a:srgbClr val="F26B43"/>
          </p15:clr>
        </p15:guide>
        <p15:guide id="4" pos="7565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283">
          <p15:clr>
            <a:srgbClr val="F26B43"/>
          </p15:clr>
        </p15:guide>
        <p15:guide id="7" orient="horz" pos="4219">
          <p15:clr>
            <a:srgbClr val="F26B43"/>
          </p15:clr>
        </p15:guide>
        <p15:guide id="8" orient="horz" pos="412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313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  <p:sldLayoutId id="2147483989" r:id="rId24"/>
    <p:sldLayoutId id="2147484063" r:id="rId25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0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370907" y="-216"/>
            <a:ext cx="935477" cy="5654618"/>
            <a:chOff x="12618967" y="-221"/>
            <a:chExt cx="954235" cy="5767186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49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354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1354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3766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  <p:sldLayoutId id="2147484005" r:id="rId15"/>
    <p:sldLayoutId id="2147484006" r:id="rId16"/>
    <p:sldLayoutId id="2147484007" r:id="rId17"/>
    <p:sldLayoutId id="2147484008" r:id="rId18"/>
    <p:sldLayoutId id="2147484009" r:id="rId19"/>
    <p:sldLayoutId id="2147484010" r:id="rId20"/>
    <p:sldLayoutId id="2147484011" r:id="rId21"/>
    <p:sldLayoutId id="2147484012" r:id="rId22"/>
    <p:sldLayoutId id="2147484013" r:id="rId23"/>
  </p:sldLayoutIdLst>
  <p:transition>
    <p:fade/>
  </p:transition>
  <p:txStyles>
    <p:titleStyle>
      <a:lvl1pPr algn="l" defTabSz="913807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39" marR="0" indent="-335939" algn="l" defTabSz="91380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41" marR="0" indent="-236402" algn="l" defTabSz="91380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58" marR="0" indent="-223959" algn="l" defTabSz="91380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5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17" marR="0" indent="-223959" algn="l" defTabSz="91380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777" marR="0" indent="-223959" algn="l" defTabSz="91380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2970" indent="-228452" algn="l" defTabSz="913807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4" indent="-228452" algn="l" defTabSz="913807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7pPr>
      <a:lvl8pPr marL="3426778" indent="-228452" algn="l" defTabSz="913807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8pPr>
      <a:lvl9pPr marL="3883683" indent="-228452" algn="l" defTabSz="913807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1pPr>
      <a:lvl2pPr marL="456904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2pPr>
      <a:lvl3pPr marL="913807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1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4pPr>
      <a:lvl5pPr marL="1827615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5pPr>
      <a:lvl6pPr marL="2284519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6pPr>
      <a:lvl7pPr marL="2741422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6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8pPr>
      <a:lvl9pPr marL="3655230" algn="l" defTabSz="913807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72691" marR="0" lvl="1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43" name="Group 42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50" name="Rectangle 49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51" name="Rectangle 50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rgbClr val="00BCF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8319">
                          <a:srgbClr val="505050"/>
                        </a:gs>
                        <a:gs pos="79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8319">
                          <a:srgbClr val="505050"/>
                        </a:gs>
                        <a:gs pos="79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52" name="Rectangle 51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rgbClr val="D2D2D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53" name="Rectangle 52"/>
              <p:cNvSpPr/>
              <p:nvPr userDrawn="1"/>
            </p:nvSpPr>
            <p:spPr bwMode="auto">
              <a:xfrm>
                <a:off x="3419856" y="4543426"/>
                <a:ext cx="869930" cy="289766"/>
              </a:xfrm>
              <a:prstGeom prst="rect">
                <a:avLst/>
              </a:prstGeom>
              <a:solidFill>
                <a:srgbClr val="002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54" name="Rectangle 53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32323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50 G:50 B:50</a:t>
                </a:r>
              </a:p>
            </p:txBody>
          </p:sp>
          <p:sp>
            <p:nvSpPr>
              <p:cNvPr id="55" name="Rectangle 54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47" name="Rectangle 46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baseline="0" noProof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lvl="0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48" name="Rectangle 47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49" name="Rectangle 48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marL="0" marR="0" lvl="0" indent="0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45" name="TextBox 44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Main colors</a:t>
              </a:r>
            </a:p>
          </p:txBody>
        </p:sp>
        <p:sp>
          <p:nvSpPr>
            <p:cNvPr id="46" name="TextBox 45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defTabSz="89638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11008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0" r:id="rId16"/>
    <p:sldLayoutId id="2147484031" r:id="rId17"/>
    <p:sldLayoutId id="2147484032" r:id="rId18"/>
    <p:sldLayoutId id="2147484033" r:id="rId19"/>
    <p:sldLayoutId id="2147484035" r:id="rId20"/>
    <p:sldLayoutId id="2147484036" r:id="rId2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3921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353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80000">
              <a:srgbClr val="002050"/>
            </a:gs>
            <a:gs pos="80000">
              <a:srgbClr val="02162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554938"/>
            <a:ext cx="11653521" cy="21838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6" name="Group 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14" name="Rectangle 13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Rectangle 14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49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Rectangle 15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Rectangle 18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11" name="Rectangle 10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13" name="Rectangle 12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9" name="TextBox 8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10" name="TextBox 9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69716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  <p:sldLayoutId id="2147484060" r:id="rId23"/>
    <p:sldLayoutId id="2147484061" r:id="rId24"/>
    <p:sldLayoutId id="2147484062" r:id="rId25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ts val="18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ts val="365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20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orient="horz" pos="98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6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16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816079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227073" y="1600200"/>
            <a:ext cx="11356756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816079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816079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288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</p:sldLayoutIdLst>
  <p:transition>
    <p:fade/>
  </p:transition>
  <p:hf hdr="0" ftr="0" dt="0"/>
  <p:txStyles>
    <p:titleStyle>
      <a:lvl1pPr marL="0" algn="l" defTabSz="816079" rtl="0" eaLnBrk="1" latinLnBrk="0" hangingPunct="1">
        <a:lnSpc>
          <a:spcPct val="90000"/>
        </a:lnSpc>
        <a:spcBef>
          <a:spcPct val="0"/>
        </a:spcBef>
        <a:buNone/>
        <a:defRPr lang="en-US" sz="3000" kern="1200" spc="-44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816079" rtl="0" eaLnBrk="1" latinLnBrk="0" hangingPunct="1">
        <a:spcBef>
          <a:spcPts val="1350"/>
        </a:spcBef>
        <a:buClr>
          <a:srgbClr val="0072C6"/>
        </a:buClr>
        <a:buSzPct val="100000"/>
        <a:buFont typeface="Wingdings" pitchFamily="2" charset="2"/>
        <a:buNone/>
        <a:defRPr sz="1800" kern="1200">
          <a:solidFill>
            <a:srgbClr val="0072C6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57053" indent="-145797" algn="l" defTabSz="816079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571284" indent="-129927" algn="l" defTabSz="81607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785516" indent="-132903" algn="l" defTabSz="816079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964042" indent="-134887" algn="l" defTabSz="816079" rtl="0" eaLnBrk="1" latinLnBrk="0" hangingPunct="1">
        <a:spcBef>
          <a:spcPct val="20000"/>
        </a:spcBef>
        <a:buFont typeface="Arial" pitchFamily="34" charset="0"/>
        <a:buChar char="»"/>
        <a:defRPr sz="105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244218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65225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06029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468336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0804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1607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1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3215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4019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44823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85627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1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735" userDrawn="1">
          <p15:clr>
            <a:srgbClr val="5ACBF0"/>
          </p15:clr>
        </p15:guide>
        <p15:guide id="2" pos="3967" userDrawn="1">
          <p15:clr>
            <a:srgbClr val="5ACBF0"/>
          </p15:clr>
        </p15:guide>
        <p15:guide id="3" pos="3199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1663" userDrawn="1">
          <p15:clr>
            <a:srgbClr val="5ACBF0"/>
          </p15:clr>
        </p15:guide>
        <p15:guide id="6" pos="895" userDrawn="1">
          <p15:clr>
            <a:srgbClr val="5ACBF0"/>
          </p15:clr>
        </p15:guide>
        <p15:guide id="7" pos="127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  <p15:guide id="15" orient="horz" pos="144" userDrawn="1">
          <p15:clr>
            <a:srgbClr val="5ACBF0"/>
          </p15:clr>
        </p15:guide>
        <p15:guide id="16" orient="horz" pos="720" userDrawn="1">
          <p15:clr>
            <a:srgbClr val="5ACBF0"/>
          </p15:clr>
        </p15:guide>
        <p15:guide id="17" orient="horz" pos="1296" userDrawn="1">
          <p15:clr>
            <a:srgbClr val="5ACBF0"/>
          </p15:clr>
        </p15:guide>
        <p15:guide id="18" orient="horz" pos="1872" userDrawn="1">
          <p15:clr>
            <a:srgbClr val="5ACBF0"/>
          </p15:clr>
        </p15:guide>
        <p15:guide id="19" orient="horz" pos="2448" userDrawn="1">
          <p15:clr>
            <a:srgbClr val="5ACBF0"/>
          </p15:clr>
        </p15:guide>
        <p15:guide id="20" orient="horz" pos="3024" userDrawn="1">
          <p15:clr>
            <a:srgbClr val="5ACBF0"/>
          </p15:clr>
        </p15:guide>
        <p15:guide id="21" orient="horz" pos="3600" userDrawn="1">
          <p15:clr>
            <a:srgbClr val="5ACBF0"/>
          </p15:clr>
        </p15:guide>
        <p15:guide id="22" orient="horz" pos="4176" userDrawn="1">
          <p15:clr>
            <a:srgbClr val="5ACBF0"/>
          </p15:clr>
        </p15:guide>
        <p15:guide id="23" pos="255" userDrawn="1">
          <p15:clr>
            <a:srgbClr val="F26B43"/>
          </p15:clr>
        </p15:guide>
        <p15:guide id="24" pos="9983" userDrawn="1">
          <p15:clr>
            <a:srgbClr val="F26B43"/>
          </p15:clr>
        </p15:guide>
        <p15:guide id="25" orient="horz" pos="240" userDrawn="1">
          <p15:clr>
            <a:srgbClr val="F26B43"/>
          </p15:clr>
        </p15:guide>
        <p15:guide id="26" orient="horz" pos="4080" userDrawn="1">
          <p15:clr>
            <a:srgbClr val="F26B43"/>
          </p15:clr>
        </p15:guide>
        <p15:guide id="27" pos="5119" userDrawn="1">
          <p15:clr>
            <a:srgbClr val="F26B43"/>
          </p15:clr>
        </p15:guide>
        <p15:guide id="28" orient="horz" pos="21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3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8173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816079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816079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71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</p:sldLayoutIdLst>
  <p:transition>
    <p:fade/>
  </p:transition>
  <p:hf hdr="0" ftr="0" dt="0"/>
  <p:txStyles>
    <p:titleStyle>
      <a:lvl1pPr marL="0" algn="l" defTabSz="816079" rtl="0" eaLnBrk="1" latinLnBrk="0" hangingPunct="1">
        <a:lnSpc>
          <a:spcPct val="90000"/>
        </a:lnSpc>
        <a:spcBef>
          <a:spcPct val="0"/>
        </a:spcBef>
        <a:buNone/>
        <a:defRPr lang="en-US" sz="3000" kern="1200" spc="-44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816079" rtl="0" eaLnBrk="1" latinLnBrk="0" hangingPunct="1">
        <a:spcBef>
          <a:spcPts val="1350"/>
        </a:spcBef>
        <a:buClr>
          <a:srgbClr val="0072C6"/>
        </a:buClr>
        <a:buSzPct val="100000"/>
        <a:buFont typeface="Wingdings" pitchFamily="2" charset="2"/>
        <a:buNone/>
        <a:defRPr sz="18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57053" indent="-145797" algn="l" defTabSz="816079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571284" indent="-129927" algn="l" defTabSz="81607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785516" indent="-132903" algn="l" defTabSz="816079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964042" indent="-134887" algn="l" defTabSz="816079" rtl="0" eaLnBrk="1" latinLnBrk="0" hangingPunct="1">
        <a:spcBef>
          <a:spcPct val="20000"/>
        </a:spcBef>
        <a:buFont typeface="Arial" pitchFamily="34" charset="0"/>
        <a:buChar char="»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244218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65225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06029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468336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0804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1607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1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3215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4019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44823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85627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1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735" userDrawn="1">
          <p15:clr>
            <a:srgbClr val="5ACBF0"/>
          </p15:clr>
        </p15:guide>
        <p15:guide id="2" pos="3967" userDrawn="1">
          <p15:clr>
            <a:srgbClr val="5ACBF0"/>
          </p15:clr>
        </p15:guide>
        <p15:guide id="3" pos="3199" userDrawn="1">
          <p15:clr>
            <a:srgbClr val="5ACBF0"/>
          </p15:clr>
        </p15:guide>
        <p15:guide id="4" pos="2431" userDrawn="1">
          <p15:clr>
            <a:srgbClr val="5ACBF0"/>
          </p15:clr>
        </p15:guide>
        <p15:guide id="5" pos="1663" userDrawn="1">
          <p15:clr>
            <a:srgbClr val="5ACBF0"/>
          </p15:clr>
        </p15:guide>
        <p15:guide id="6" pos="895" userDrawn="1">
          <p15:clr>
            <a:srgbClr val="5ACBF0"/>
          </p15:clr>
        </p15:guide>
        <p15:guide id="7" pos="127" userDrawn="1">
          <p15:clr>
            <a:srgbClr val="5ACBF0"/>
          </p15:clr>
        </p15:guide>
        <p15:guide id="8" pos="5503" userDrawn="1">
          <p15:clr>
            <a:srgbClr val="5ACBF0"/>
          </p15:clr>
        </p15:guide>
        <p15:guide id="9" pos="6271" userDrawn="1">
          <p15:clr>
            <a:srgbClr val="5ACBF0"/>
          </p15:clr>
        </p15:guide>
        <p15:guide id="10" pos="7039" userDrawn="1">
          <p15:clr>
            <a:srgbClr val="5ACBF0"/>
          </p15:clr>
        </p15:guide>
        <p15:guide id="11" pos="7807" userDrawn="1">
          <p15:clr>
            <a:srgbClr val="5ACBF0"/>
          </p15:clr>
        </p15:guide>
        <p15:guide id="12" pos="8575" userDrawn="1">
          <p15:clr>
            <a:srgbClr val="5ACBF0"/>
          </p15:clr>
        </p15:guide>
        <p15:guide id="13" pos="9343" userDrawn="1">
          <p15:clr>
            <a:srgbClr val="5ACBF0"/>
          </p15:clr>
        </p15:guide>
        <p15:guide id="14" pos="10111" userDrawn="1">
          <p15:clr>
            <a:srgbClr val="5ACBF0"/>
          </p15:clr>
        </p15:guide>
        <p15:guide id="15" orient="horz" pos="144" userDrawn="1">
          <p15:clr>
            <a:srgbClr val="5ACBF0"/>
          </p15:clr>
        </p15:guide>
        <p15:guide id="16" orient="horz" pos="720" userDrawn="1">
          <p15:clr>
            <a:srgbClr val="5ACBF0"/>
          </p15:clr>
        </p15:guide>
        <p15:guide id="17" orient="horz" pos="1296" userDrawn="1">
          <p15:clr>
            <a:srgbClr val="5ACBF0"/>
          </p15:clr>
        </p15:guide>
        <p15:guide id="18" orient="horz" pos="1872" userDrawn="1">
          <p15:clr>
            <a:srgbClr val="5ACBF0"/>
          </p15:clr>
        </p15:guide>
        <p15:guide id="19" orient="horz" pos="2448" userDrawn="1">
          <p15:clr>
            <a:srgbClr val="5ACBF0"/>
          </p15:clr>
        </p15:guide>
        <p15:guide id="20" orient="horz" pos="3024" userDrawn="1">
          <p15:clr>
            <a:srgbClr val="5ACBF0"/>
          </p15:clr>
        </p15:guide>
        <p15:guide id="21" orient="horz" pos="3600" userDrawn="1">
          <p15:clr>
            <a:srgbClr val="5ACBF0"/>
          </p15:clr>
        </p15:guide>
        <p15:guide id="22" orient="horz" pos="4176" userDrawn="1">
          <p15:clr>
            <a:srgbClr val="5ACBF0"/>
          </p15:clr>
        </p15:guide>
        <p15:guide id="23" pos="255" userDrawn="1">
          <p15:clr>
            <a:srgbClr val="F26B43"/>
          </p15:clr>
        </p15:guide>
        <p15:guide id="24" pos="9983" userDrawn="1">
          <p15:clr>
            <a:srgbClr val="F26B43"/>
          </p15:clr>
        </p15:guide>
        <p15:guide id="25" orient="horz" pos="240" userDrawn="1">
          <p15:clr>
            <a:srgbClr val="F26B43"/>
          </p15:clr>
        </p15:guide>
        <p15:guide id="26" orient="horz" pos="4080" userDrawn="1">
          <p15:clr>
            <a:srgbClr val="F26B43"/>
          </p15:clr>
        </p15:guide>
        <p15:guide id="27" pos="5119" userDrawn="1">
          <p15:clr>
            <a:srgbClr val="F26B43"/>
          </p15:clr>
        </p15:guide>
        <p15:guide id="28" orient="horz" pos="2160" userDrawn="1">
          <p15:clr>
            <a:srgbClr val="F26B43"/>
          </p15:clr>
        </p15:guide>
        <p15:guide id="29" orient="horz" pos="816" userDrawn="1">
          <p15:clr>
            <a:srgbClr val="F26B43"/>
          </p15:clr>
        </p15:guide>
        <p15:guide id="30" orient="horz" pos="100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162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15" r:id="rId34"/>
    <p:sldLayoutId id="2147483816" r:id="rId35"/>
    <p:sldLayoutId id="2147483817" r:id="rId36"/>
    <p:sldLayoutId id="2147483818" r:id="rId37"/>
    <p:sldLayoutId id="2147483819" r:id="rId38"/>
    <p:sldLayoutId id="2147483820" r:id="rId39"/>
    <p:sldLayoutId id="2147483821" r:id="rId40"/>
    <p:sldLayoutId id="2147483822" r:id="rId41"/>
    <p:sldLayoutId id="2147483823" r:id="rId42"/>
    <p:sldLayoutId id="2147483824" r:id="rId43"/>
    <p:sldLayoutId id="2147483825" r:id="rId44"/>
    <p:sldLayoutId id="2147483826" r:id="rId45"/>
    <p:sldLayoutId id="2147483827" r:id="rId46"/>
    <p:sldLayoutId id="2147483828" r:id="rId47"/>
    <p:sldLayoutId id="2147483831" r:id="rId48"/>
  </p:sldLayoutIdLst>
  <p:transition>
    <p:fade/>
  </p:transition>
  <p:hf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25" imgW="383" imgH="384" progId="TCLayout.ActiveDocument.1">
                  <p:embed/>
                </p:oleObj>
              </mc:Choice>
              <mc:Fallback>
                <p:oleObj name="think-cell Slide" r:id="rId2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05000" y="6477876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zh-TW" alt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3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5053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05777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</p:sldLayoutIdLst>
  <p:transition>
    <p:fade/>
  </p:transition>
  <p:hf hdr="0" ftr="0" dt="0"/>
  <p:txStyles>
    <p:titleStyle>
      <a:lvl1pPr marL="0" algn="l" defTabSz="816079" rtl="0" eaLnBrk="1" latinLnBrk="0" hangingPunct="1">
        <a:lnSpc>
          <a:spcPct val="90000"/>
        </a:lnSpc>
        <a:spcBef>
          <a:spcPct val="0"/>
        </a:spcBef>
        <a:buNone/>
        <a:defRPr lang="en-US" sz="3000" kern="1200" spc="-44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816079" rtl="0" eaLnBrk="1" latinLnBrk="0" hangingPunct="1">
        <a:spcBef>
          <a:spcPts val="1350"/>
        </a:spcBef>
        <a:buClr>
          <a:srgbClr val="0072C6"/>
        </a:buClr>
        <a:buSzPct val="100000"/>
        <a:buFont typeface="Wingdings" pitchFamily="2" charset="2"/>
        <a:buNone/>
        <a:defRPr sz="18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57053" indent="-145797" algn="l" defTabSz="816079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571284" indent="-129927" algn="l" defTabSz="81607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785516" indent="-132903" algn="l" defTabSz="816079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964042" indent="-134887" algn="l" defTabSz="816079" rtl="0" eaLnBrk="1" latinLnBrk="0" hangingPunct="1">
        <a:spcBef>
          <a:spcPct val="20000"/>
        </a:spcBef>
        <a:buFont typeface="Arial" pitchFamily="34" charset="0"/>
        <a:buChar char="»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244218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65225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06029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468336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0804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1607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1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3215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4019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44823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85627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1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735">
          <p15:clr>
            <a:srgbClr val="5ACBF0"/>
          </p15:clr>
        </p15:guide>
        <p15:guide id="2" pos="3967">
          <p15:clr>
            <a:srgbClr val="5ACBF0"/>
          </p15:clr>
        </p15:guide>
        <p15:guide id="3" pos="3199">
          <p15:clr>
            <a:srgbClr val="5ACBF0"/>
          </p15:clr>
        </p15:guide>
        <p15:guide id="4" pos="2431">
          <p15:clr>
            <a:srgbClr val="5ACBF0"/>
          </p15:clr>
        </p15:guide>
        <p15:guide id="5" pos="1663">
          <p15:clr>
            <a:srgbClr val="5ACBF0"/>
          </p15:clr>
        </p15:guide>
        <p15:guide id="6" pos="895">
          <p15:clr>
            <a:srgbClr val="5ACBF0"/>
          </p15:clr>
        </p15:guide>
        <p15:guide id="7" pos="127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255">
          <p15:clr>
            <a:srgbClr val="F26B43"/>
          </p15:clr>
        </p15:guide>
        <p15:guide id="24" pos="9983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511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05000" y="6477876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3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5053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C59F0-2087-4EE3-BCA2-48EE6304AE67}" type="slidenum">
              <a:rPr kumimoji="0" lang="zh-TW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37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</p:sldLayoutIdLst>
  <p:transition>
    <p:fade/>
  </p:transition>
  <p:hf hdr="0" ftr="0" dt="0"/>
  <p:txStyles>
    <p:titleStyle>
      <a:lvl1pPr marL="0" algn="l" defTabSz="816079" rtl="0" eaLnBrk="1" latinLnBrk="0" hangingPunct="1">
        <a:lnSpc>
          <a:spcPct val="90000"/>
        </a:lnSpc>
        <a:spcBef>
          <a:spcPct val="0"/>
        </a:spcBef>
        <a:buNone/>
        <a:defRPr lang="en-US" sz="3000" kern="1200" spc="-44" baseline="0" dirty="0">
          <a:solidFill>
            <a:schemeClr val="tx1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816079" rtl="0" eaLnBrk="1" latinLnBrk="0" hangingPunct="1">
        <a:spcBef>
          <a:spcPts val="1350"/>
        </a:spcBef>
        <a:buClr>
          <a:srgbClr val="0072C6"/>
        </a:buClr>
        <a:buSzPct val="100000"/>
        <a:buFont typeface="Wingdings" pitchFamily="2" charset="2"/>
        <a:buNone/>
        <a:defRPr sz="18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57053" indent="-145797" algn="l" defTabSz="816079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571284" indent="-129927" algn="l" defTabSz="81607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785516" indent="-132903" algn="l" defTabSz="816079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964042" indent="-134887" algn="l" defTabSz="816079" rtl="0" eaLnBrk="1" latinLnBrk="0" hangingPunct="1">
        <a:spcBef>
          <a:spcPct val="20000"/>
        </a:spcBef>
        <a:buFont typeface="Arial" pitchFamily="34" charset="0"/>
        <a:buChar char="»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244218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65225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06029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468336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0804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1607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1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3215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4019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44823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85627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1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735">
          <p15:clr>
            <a:srgbClr val="5ACBF0"/>
          </p15:clr>
        </p15:guide>
        <p15:guide id="2" pos="3967">
          <p15:clr>
            <a:srgbClr val="5ACBF0"/>
          </p15:clr>
        </p15:guide>
        <p15:guide id="3" pos="3199">
          <p15:clr>
            <a:srgbClr val="5ACBF0"/>
          </p15:clr>
        </p15:guide>
        <p15:guide id="4" pos="2431">
          <p15:clr>
            <a:srgbClr val="5ACBF0"/>
          </p15:clr>
        </p15:guide>
        <p15:guide id="5" pos="1663">
          <p15:clr>
            <a:srgbClr val="5ACBF0"/>
          </p15:clr>
        </p15:guide>
        <p15:guide id="6" pos="895">
          <p15:clr>
            <a:srgbClr val="5ACBF0"/>
          </p15:clr>
        </p15:guide>
        <p15:guide id="7" pos="127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255">
          <p15:clr>
            <a:srgbClr val="F26B43"/>
          </p15:clr>
        </p15:guide>
        <p15:guide id="24" pos="9983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511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097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  <p:sldLayoutId id="2147483900" r:id="rId21"/>
    <p:sldLayoutId id="2147483901" r:id="rId22"/>
    <p:sldLayoutId id="2147483902" r:id="rId23"/>
    <p:sldLayoutId id="2147483903" r:id="rId24"/>
    <p:sldLayoutId id="2147483904" r:id="rId25"/>
    <p:sldLayoutId id="2147483905" r:id="rId26"/>
    <p:sldLayoutId id="2147483906" r:id="rId27"/>
    <p:sldLayoutId id="2147483907" r:id="rId28"/>
    <p:sldLayoutId id="2147483908" r:id="rId29"/>
    <p:sldLayoutId id="2147483909" r:id="rId30"/>
    <p:sldLayoutId id="2147483910" r:id="rId31"/>
    <p:sldLayoutId id="2147483911" r:id="rId32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3358" y="211754"/>
            <a:ext cx="832104" cy="179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233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  <p:sldLayoutId id="2147483934" r:id="rId22"/>
    <p:sldLayoutId id="2147483935" r:id="rId23"/>
  </p:sldLayoutIdLst>
  <p:transition spd="slow">
    <p:fade/>
  </p:transition>
  <p:hf hdr="0" ftr="0" dt="0"/>
  <p:txStyles>
    <p:titleStyle>
      <a:lvl1pPr algn="l" defTabSz="896214" rtl="0" eaLnBrk="1" latinLnBrk="0" hangingPunct="1">
        <a:spcBef>
          <a:spcPct val="0"/>
        </a:spcBef>
        <a:buNone/>
        <a:defRPr sz="5000" kern="1200">
          <a:solidFill>
            <a:schemeClr val="bg2"/>
          </a:solidFill>
          <a:latin typeface="Segoe UI Light" pitchFamily="34" charset="0"/>
          <a:ea typeface="+mj-ea"/>
          <a:cs typeface="+mj-cs"/>
        </a:defRPr>
      </a:lvl1pPr>
    </p:titleStyle>
    <p:bodyStyle>
      <a:lvl1pPr marL="0" indent="0" algn="l" defTabSz="896214" rtl="0" eaLnBrk="1" latinLnBrk="0" hangingPunct="1">
        <a:spcBef>
          <a:spcPct val="20000"/>
        </a:spcBef>
        <a:buFontTx/>
        <a:buNone/>
        <a:defRPr sz="3000" kern="1200">
          <a:solidFill>
            <a:schemeClr val="bg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962457" indent="-514350" algn="l" defTabSz="896214" rtl="0" eaLnBrk="1" latinLnBrk="0" hangingPunct="1">
        <a:spcBef>
          <a:spcPct val="20000"/>
        </a:spcBef>
        <a:buFont typeface="+mj-lt"/>
        <a:buAutoNum type="arabicPeriod"/>
        <a:defRPr sz="2800" kern="1200">
          <a:solidFill>
            <a:schemeClr val="bg2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20268" indent="-224054" algn="l" defTabSz="89621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bg2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568375" indent="-224054" algn="l" defTabSz="89621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bg2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16482" indent="-224054" algn="l" defTabSz="89621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bg2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464589" indent="-224054" algn="l" defTabSz="89621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12697" indent="-224054" algn="l" defTabSz="89621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360804" indent="-224054" algn="l" defTabSz="89621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08911" indent="-224054" algn="l" defTabSz="89621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8107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6214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4321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2429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0535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88642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36749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84856" algn="l" defTabSz="89621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05000" y="6477876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zh-TW" alt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3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215053" y="6477874"/>
            <a:ext cx="761999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BD6C59F0-2087-4EE3-BCA2-48EE6304AE67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57024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  <p:sldLayoutId id="2147483953" r:id="rId17"/>
    <p:sldLayoutId id="2147483954" r:id="rId18"/>
    <p:sldLayoutId id="2147483955" r:id="rId19"/>
    <p:sldLayoutId id="2147483956" r:id="rId20"/>
  </p:sldLayoutIdLst>
  <p:transition>
    <p:fade/>
  </p:transition>
  <p:hf hdr="0" ftr="0" dt="0"/>
  <p:txStyles>
    <p:titleStyle>
      <a:lvl1pPr marL="0" algn="l" defTabSz="816079" rtl="0" eaLnBrk="1" latinLnBrk="0" hangingPunct="1">
        <a:lnSpc>
          <a:spcPct val="90000"/>
        </a:lnSpc>
        <a:spcBef>
          <a:spcPct val="0"/>
        </a:spcBef>
        <a:buNone/>
        <a:defRPr lang="en-US" sz="3000" kern="1200" spc="-44" baseline="0" dirty="0">
          <a:solidFill>
            <a:schemeClr val="tx1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816079" rtl="0" eaLnBrk="1" latinLnBrk="0" hangingPunct="1">
        <a:spcBef>
          <a:spcPts val="1350"/>
        </a:spcBef>
        <a:buClr>
          <a:srgbClr val="0072C6"/>
        </a:buClr>
        <a:buSzPct val="100000"/>
        <a:buFont typeface="Wingdings" pitchFamily="2" charset="2"/>
        <a:buNone/>
        <a:defRPr sz="18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57053" indent="-145797" algn="l" defTabSz="816079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571284" indent="-129927" algn="l" defTabSz="816079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785516" indent="-132903" algn="l" defTabSz="816079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964042" indent="-134887" algn="l" defTabSz="816079" rtl="0" eaLnBrk="1" latinLnBrk="0" hangingPunct="1">
        <a:spcBef>
          <a:spcPct val="20000"/>
        </a:spcBef>
        <a:buFont typeface="Arial" pitchFamily="34" charset="0"/>
        <a:buChar char="»"/>
        <a:defRPr sz="105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244218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65225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060297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468336" indent="-204020" algn="l" defTabSz="816079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08040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1607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19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3215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40198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44823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85627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17" algn="l" defTabSz="816079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735">
          <p15:clr>
            <a:srgbClr val="5ACBF0"/>
          </p15:clr>
        </p15:guide>
        <p15:guide id="2" pos="3967">
          <p15:clr>
            <a:srgbClr val="5ACBF0"/>
          </p15:clr>
        </p15:guide>
        <p15:guide id="3" pos="3199">
          <p15:clr>
            <a:srgbClr val="5ACBF0"/>
          </p15:clr>
        </p15:guide>
        <p15:guide id="4" pos="2431">
          <p15:clr>
            <a:srgbClr val="5ACBF0"/>
          </p15:clr>
        </p15:guide>
        <p15:guide id="5" pos="1663">
          <p15:clr>
            <a:srgbClr val="5ACBF0"/>
          </p15:clr>
        </p15:guide>
        <p15:guide id="6" pos="895">
          <p15:clr>
            <a:srgbClr val="5ACBF0"/>
          </p15:clr>
        </p15:guide>
        <p15:guide id="7" pos="127">
          <p15:clr>
            <a:srgbClr val="5ACBF0"/>
          </p15:clr>
        </p15:guide>
        <p15:guide id="8" pos="5503">
          <p15:clr>
            <a:srgbClr val="5ACBF0"/>
          </p15:clr>
        </p15:guide>
        <p15:guide id="9" pos="6271">
          <p15:clr>
            <a:srgbClr val="5ACBF0"/>
          </p15:clr>
        </p15:guide>
        <p15:guide id="10" pos="7039">
          <p15:clr>
            <a:srgbClr val="5ACBF0"/>
          </p15:clr>
        </p15:guide>
        <p15:guide id="11" pos="7807">
          <p15:clr>
            <a:srgbClr val="5ACBF0"/>
          </p15:clr>
        </p15:guide>
        <p15:guide id="12" pos="8575">
          <p15:clr>
            <a:srgbClr val="5ACBF0"/>
          </p15:clr>
        </p15:guide>
        <p15:guide id="13" pos="9343">
          <p15:clr>
            <a:srgbClr val="5ACBF0"/>
          </p15:clr>
        </p15:guide>
        <p15:guide id="14" pos="10111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255">
          <p15:clr>
            <a:srgbClr val="F26B43"/>
          </p15:clr>
        </p15:guide>
        <p15:guide id="24" pos="9983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511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4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0.xml"/><Relationship Id="rId4" Type="http://schemas.openxmlformats.org/officeDocument/2006/relationships/image" Target="../media/image4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4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cognitive-services/en-us/emotion-api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0.xml"/><Relationship Id="rId5" Type="http://schemas.openxmlformats.org/officeDocument/2006/relationships/image" Target="../media/image46.emf"/><Relationship Id="rId4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6.emf"/><Relationship Id="rId5" Type="http://schemas.openxmlformats.org/officeDocument/2006/relationships/image" Target="../media/image61.png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46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46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cognitive-services/en-us/speech-api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8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cognitive-services/en-us/speaker-recognition-api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jpg"/><Relationship Id="rId7" Type="http://schemas.openxmlformats.org/officeDocument/2006/relationships/image" Target="../media/image40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39.png"/><Relationship Id="rId11" Type="http://schemas.openxmlformats.org/officeDocument/2006/relationships/image" Target="../media/image43.png"/><Relationship Id="rId5" Type="http://schemas.openxmlformats.org/officeDocument/2006/relationships/image" Target="../media/image38.png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4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4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cognitive-services/en-us/computer-vision-api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0.xml"/><Relationship Id="rId4" Type="http://schemas.openxmlformats.org/officeDocument/2006/relationships/image" Target="../media/image4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18615" y="1255594"/>
            <a:ext cx="672834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dd a cognitive side to your apps with Microsoft Cognitive Servic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18615" y="3956126"/>
            <a:ext cx="67283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hish Sahu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9376" y="4352177"/>
            <a:ext cx="67283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ish.sahu@Microsoft.com</a:t>
            </a:r>
          </a:p>
        </p:txBody>
      </p:sp>
    </p:spTree>
    <p:extLst>
      <p:ext uri="{BB962C8B-B14F-4D97-AF65-F5344CB8AC3E}">
        <p14:creationId xmlns:p14="http://schemas.microsoft.com/office/powerpoint/2010/main" val="14193284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5916966" y="1268840"/>
            <a:ext cx="6467818" cy="4414506"/>
            <a:chOff x="6039465" y="1292380"/>
            <a:chExt cx="6601722" cy="4505900"/>
          </a:xfrm>
        </p:grpSpPr>
        <p:sp>
          <p:nvSpPr>
            <p:cNvPr id="18" name="TextBox 17"/>
            <p:cNvSpPr txBox="1"/>
            <p:nvPr/>
          </p:nvSpPr>
          <p:spPr>
            <a:xfrm>
              <a:off x="6039465" y="1292380"/>
              <a:ext cx="6601722" cy="165791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179145" tIns="143316" rIns="179145" bIns="143316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Face detection</a:t>
              </a:r>
            </a:p>
            <a:p>
              <a:pPr marL="0" marR="0" lvl="2" indent="0" defTabSz="91349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</a:t>
              </a:r>
              <a:r>
                <a:rPr kumimoji="0" lang="en-US" altLang="en-US" sz="1421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faceRectangle</a:t>
              </a: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: {"width": 193, </a:t>
              </a:r>
              <a:b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</a:b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						 "height": 193, </a:t>
              </a:r>
              <a:b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</a:b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							"left": 326, </a:t>
              </a:r>
              <a:b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</a:b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							"top": 204}</a:t>
              </a:r>
              <a:r>
                <a:rPr kumimoji="0" lang="en-US" alt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	… 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039465" y="2823662"/>
              <a:ext cx="5780260" cy="297461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179145" tIns="143316" rIns="179145" bIns="143316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Emotion scores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“scores": { </a:t>
              </a: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anger": 5.182241e-8, 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contempt": 0.0000242813, 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disgust": 5.621025e-7, 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fear": 0.00115027453, 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happiness": 1.06114619e-8, 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neutral": 0.003540177, 	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sadness": 9.30888746e-7, </a:t>
              </a:r>
            </a:p>
            <a:p>
              <a:pPr marL="0" marR="0" lvl="2" indent="-224" defTabSz="9134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		"surprise": 0.9952837}</a:t>
              </a:r>
              <a:endParaRPr kumimoji="0" lang="en-US" altLang="en-US" sz="1421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4277" r="2839"/>
          <a:stretch/>
        </p:blipFill>
        <p:spPr>
          <a:xfrm>
            <a:off x="269068" y="1489244"/>
            <a:ext cx="5647898" cy="4895183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6086467" y="1848816"/>
            <a:ext cx="6103304" cy="1519550"/>
            <a:chOff x="6221346" y="2125663"/>
            <a:chExt cx="6215127" cy="1551009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6234017" y="2125663"/>
              <a:ext cx="6202456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6221346" y="3676672"/>
              <a:ext cx="6192055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154433" y="507271"/>
            <a:ext cx="941642" cy="511318"/>
            <a:chOff x="4476279" y="568462"/>
            <a:chExt cx="961137" cy="521904"/>
          </a:xfrm>
        </p:grpSpPr>
        <p:grpSp>
          <p:nvGrpSpPr>
            <p:cNvPr id="33" name="Group 32"/>
            <p:cNvGrpSpPr/>
            <p:nvPr/>
          </p:nvGrpSpPr>
          <p:grpSpPr>
            <a:xfrm>
              <a:off x="4476279" y="568462"/>
              <a:ext cx="961137" cy="521904"/>
              <a:chOff x="-2418910" y="4474409"/>
              <a:chExt cx="961137" cy="521904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-2418910" y="4474409"/>
                <a:ext cx="961137" cy="521904"/>
                <a:chOff x="-4859148" y="3104846"/>
                <a:chExt cx="2543854" cy="1381329"/>
              </a:xfrm>
            </p:grpSpPr>
            <p:pic>
              <p:nvPicPr>
                <p:cNvPr id="39" name="Picture 3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4859148" y="3104846"/>
                  <a:ext cx="2543854" cy="1381329"/>
                </a:xfrm>
                <a:prstGeom prst="rect">
                  <a:avLst/>
                </a:prstGeom>
              </p:spPr>
            </p:pic>
            <p:sp>
              <p:nvSpPr>
                <p:cNvPr id="40" name="Oval 39"/>
                <p:cNvSpPr/>
                <p:nvPr/>
              </p:nvSpPr>
              <p:spPr bwMode="auto">
                <a:xfrm>
                  <a:off x="-4127480" y="3334872"/>
                  <a:ext cx="1080521" cy="921278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36" name="Group 35"/>
              <p:cNvGrpSpPr/>
              <p:nvPr/>
            </p:nvGrpSpPr>
            <p:grpSpPr>
              <a:xfrm>
                <a:off x="-2026243" y="4677184"/>
                <a:ext cx="171471" cy="46547"/>
                <a:chOff x="-2427050" y="2889116"/>
                <a:chExt cx="587730" cy="159543"/>
              </a:xfrm>
            </p:grpSpPr>
            <p:sp>
              <p:nvSpPr>
                <p:cNvPr id="37" name="Oval 36"/>
                <p:cNvSpPr/>
                <p:nvPr/>
              </p:nvSpPr>
              <p:spPr bwMode="auto">
                <a:xfrm>
                  <a:off x="-2427050" y="2889116"/>
                  <a:ext cx="159543" cy="159543"/>
                </a:xfrm>
                <a:prstGeom prst="ellipse">
                  <a:avLst/>
                </a:prstGeom>
                <a:solidFill>
                  <a:srgbClr val="000000"/>
                </a:solidFill>
                <a:ln w="317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45691" rIns="0" bIns="45691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 bwMode="auto">
                <a:xfrm>
                  <a:off x="-1998863" y="2889116"/>
                  <a:ext cx="159543" cy="159543"/>
                </a:xfrm>
                <a:prstGeom prst="ellipse">
                  <a:avLst/>
                </a:prstGeom>
                <a:solidFill>
                  <a:srgbClr val="000000"/>
                </a:solidFill>
                <a:ln w="317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45691" rIns="0" bIns="45691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</a:endParaRPr>
                </a:p>
              </p:txBody>
            </p:sp>
          </p:grpSp>
        </p:grpSp>
        <p:sp>
          <p:nvSpPr>
            <p:cNvPr id="34" name="Oval 5"/>
            <p:cNvSpPr>
              <a:spLocks noChangeArrowheads="1"/>
            </p:cNvSpPr>
            <p:nvPr/>
          </p:nvSpPr>
          <p:spPr bwMode="auto">
            <a:xfrm>
              <a:off x="4893938" y="847906"/>
              <a:ext cx="125818" cy="108397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motion APIs</a:t>
            </a:r>
          </a:p>
        </p:txBody>
      </p:sp>
    </p:spTree>
    <p:extLst>
      <p:ext uri="{BB962C8B-B14F-4D97-AF65-F5344CB8AC3E}">
        <p14:creationId xmlns:p14="http://schemas.microsoft.com/office/powerpoint/2010/main" val="1529598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875E-6 3.91285E-6 L -0.03674 3.91285E-6 " pathEditMode="relative" rAng="0" ptsTypes="AA">
                                      <p:cBhvr>
                                        <p:cTn id="12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https://microsoft.sharepoint.com/teams/BrandCentral/BundleImages/3590WIN14_Jan_Nokia_04/PreviewImage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4753" y="-11830"/>
            <a:ext cx="12182495" cy="6888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3984724" y="292249"/>
            <a:ext cx="7930434" cy="6272239"/>
          </a:xfrm>
          <a:prstGeom prst="rect">
            <a:avLst/>
          </a:prstGeom>
          <a:solidFill>
            <a:schemeClr val="accent2">
              <a:alpha val="9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00" rIns="0" bIns="466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172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118808" y="4093156"/>
            <a:ext cx="10349121" cy="2783495"/>
          </a:xfrm>
          <a:prstGeom prst="rect">
            <a:avLst/>
          </a:prstGeom>
        </p:spPr>
        <p:txBody>
          <a:bodyPr vert="horz" lIns="91356" tIns="45677" rIns="91356" bIns="45677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>
                <a:solidFill>
                  <a:srgbClr val="00A99D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798" b="0" i="0" u="none" strike="noStrike" kern="1200" cap="none" spc="0" normalizeH="0" baseline="0" noProof="0" dirty="0">
              <a:ln>
                <a:noFill/>
              </a:ln>
              <a:solidFill>
                <a:srgbClr val="00A99D"/>
              </a:solidFill>
              <a:effectLst/>
              <a:uLnTx/>
              <a:uFillTx/>
              <a:latin typeface="Segoe UI Light" panose="020B0502040204020203" pitchFamily="34" charset="0"/>
              <a:ea typeface="+mj-ea"/>
              <a:cs typeface="Segoe UI Light" panose="020B0502040204020203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985103" y="-67467"/>
            <a:ext cx="11053812" cy="1324342"/>
            <a:chOff x="837193" y="880573"/>
            <a:chExt cx="11062436" cy="1325375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2686369" y="880573"/>
              <a:ext cx="9213260" cy="1325375"/>
            </a:xfrm>
            <a:prstGeom prst="rect">
              <a:avLst/>
            </a:prstGeom>
          </p:spPr>
          <p:txBody>
            <a:bodyPr vert="horz" lIns="91356" tIns="45677" rIns="91356" bIns="45677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366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5289" noProof="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Face</a:t>
              </a:r>
              <a:r>
                <a:rPr kumimoji="0" lang="en-US" sz="528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j-ea"/>
                  <a:cs typeface="+mj-cs"/>
                </a:rPr>
                <a:t> APIs</a:t>
              </a: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837193" y="1238140"/>
              <a:ext cx="1849176" cy="917445"/>
            </a:xfrm>
            <a:custGeom>
              <a:avLst/>
              <a:gdLst>
                <a:gd name="T0" fmla="*/ 914 w 1165"/>
                <a:gd name="T1" fmla="*/ 578 h 578"/>
                <a:gd name="T2" fmla="*/ 0 w 1165"/>
                <a:gd name="T3" fmla="*/ 578 h 578"/>
                <a:gd name="T4" fmla="*/ 0 w 1165"/>
                <a:gd name="T5" fmla="*/ 0 h 578"/>
                <a:gd name="T6" fmla="*/ 1165 w 1165"/>
                <a:gd name="T7" fmla="*/ 0 h 578"/>
                <a:gd name="T8" fmla="*/ 914 w 1165"/>
                <a:gd name="T9" fmla="*/ 578 h 578"/>
                <a:gd name="T10" fmla="*/ 914 w 1165"/>
                <a:gd name="T11" fmla="*/ 578 h 578"/>
                <a:gd name="T12" fmla="*/ 914 w 1165"/>
                <a:gd name="T13" fmla="*/ 578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5" h="578">
                  <a:moveTo>
                    <a:pt x="914" y="578"/>
                  </a:moveTo>
                  <a:lnTo>
                    <a:pt x="0" y="578"/>
                  </a:lnTo>
                  <a:lnTo>
                    <a:pt x="0" y="0"/>
                  </a:lnTo>
                  <a:lnTo>
                    <a:pt x="1165" y="0"/>
                  </a:lnTo>
                  <a:lnTo>
                    <a:pt x="914" y="578"/>
                  </a:lnTo>
                  <a:lnTo>
                    <a:pt x="914" y="578"/>
                  </a:lnTo>
                  <a:lnTo>
                    <a:pt x="914" y="5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170" name="Group 7169"/>
          <p:cNvGrpSpPr/>
          <p:nvPr/>
        </p:nvGrpSpPr>
        <p:grpSpPr>
          <a:xfrm>
            <a:off x="4385487" y="559605"/>
            <a:ext cx="941642" cy="511318"/>
            <a:chOff x="-2418910" y="4474409"/>
            <a:chExt cx="961137" cy="521904"/>
          </a:xfrm>
        </p:grpSpPr>
        <p:grpSp>
          <p:nvGrpSpPr>
            <p:cNvPr id="19" name="Group 18"/>
            <p:cNvGrpSpPr/>
            <p:nvPr/>
          </p:nvGrpSpPr>
          <p:grpSpPr>
            <a:xfrm>
              <a:off x="-2418910" y="4474409"/>
              <a:ext cx="961137" cy="521904"/>
              <a:chOff x="-4859148" y="3104846"/>
              <a:chExt cx="2543854" cy="1381329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859148" y="3104846"/>
                <a:ext cx="2543854" cy="1381329"/>
              </a:xfrm>
              <a:prstGeom prst="rect">
                <a:avLst/>
              </a:prstGeom>
            </p:spPr>
          </p:pic>
          <p:sp>
            <p:nvSpPr>
              <p:cNvPr id="22" name="Oval 21"/>
              <p:cNvSpPr/>
              <p:nvPr/>
            </p:nvSpPr>
            <p:spPr bwMode="auto">
              <a:xfrm>
                <a:off x="-4127480" y="3334872"/>
                <a:ext cx="1080521" cy="92127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7169" name="Group 7168"/>
            <p:cNvGrpSpPr/>
            <p:nvPr/>
          </p:nvGrpSpPr>
          <p:grpSpPr>
            <a:xfrm>
              <a:off x="-2033289" y="4677183"/>
              <a:ext cx="189894" cy="145540"/>
              <a:chOff x="-2451196" y="2889116"/>
              <a:chExt cx="650875" cy="498849"/>
            </a:xfrm>
          </p:grpSpPr>
          <p:sp>
            <p:nvSpPr>
              <p:cNvPr id="7" name="Oval 6"/>
              <p:cNvSpPr/>
              <p:nvPr/>
            </p:nvSpPr>
            <p:spPr bwMode="auto">
              <a:xfrm>
                <a:off x="-2427050" y="2889116"/>
                <a:ext cx="159543" cy="159543"/>
              </a:xfrm>
              <a:prstGeom prst="ellipse">
                <a:avLst/>
              </a:prstGeom>
              <a:solidFill>
                <a:srgbClr val="000000"/>
              </a:solidFill>
              <a:ln w="3175"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691" rIns="0" bIns="4569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28" name="Oval 27"/>
              <p:cNvSpPr/>
              <p:nvPr/>
            </p:nvSpPr>
            <p:spPr bwMode="auto">
              <a:xfrm>
                <a:off x="-1998863" y="2889116"/>
                <a:ext cx="159543" cy="159543"/>
              </a:xfrm>
              <a:prstGeom prst="ellipse">
                <a:avLst/>
              </a:prstGeom>
              <a:solidFill>
                <a:srgbClr val="000000"/>
              </a:solidFill>
              <a:ln w="3175"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691" rIns="0" bIns="4569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7168" name="Freeform 5"/>
              <p:cNvSpPr>
                <a:spLocks/>
              </p:cNvSpPr>
              <p:nvPr/>
            </p:nvSpPr>
            <p:spPr bwMode="auto">
              <a:xfrm>
                <a:off x="-2451196" y="3160951"/>
                <a:ext cx="650875" cy="227014"/>
              </a:xfrm>
              <a:custGeom>
                <a:avLst/>
                <a:gdLst>
                  <a:gd name="T0" fmla="*/ 0 w 197"/>
                  <a:gd name="T1" fmla="*/ 0 h 67"/>
                  <a:gd name="T2" fmla="*/ 98 w 197"/>
                  <a:gd name="T3" fmla="*/ 67 h 67"/>
                  <a:gd name="T4" fmla="*/ 197 w 197"/>
                  <a:gd name="T5" fmla="*/ 0 h 67"/>
                  <a:gd name="T6" fmla="*/ 98 w 197"/>
                  <a:gd name="T7" fmla="*/ 32 h 67"/>
                  <a:gd name="T8" fmla="*/ 0 w 197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7" h="67">
                    <a:moveTo>
                      <a:pt x="0" y="0"/>
                    </a:moveTo>
                    <a:cubicBezTo>
                      <a:pt x="15" y="39"/>
                      <a:pt x="53" y="67"/>
                      <a:pt x="98" y="67"/>
                    </a:cubicBezTo>
                    <a:cubicBezTo>
                      <a:pt x="143" y="67"/>
                      <a:pt x="182" y="39"/>
                      <a:pt x="197" y="0"/>
                    </a:cubicBezTo>
                    <a:cubicBezTo>
                      <a:pt x="170" y="20"/>
                      <a:pt x="135" y="32"/>
                      <a:pt x="98" y="32"/>
                    </a:cubicBezTo>
                    <a:cubicBezTo>
                      <a:pt x="61" y="32"/>
                      <a:pt x="27" y="20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89585" tIns="44793" rIns="89585" bIns="447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58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3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7" name="Rectangle 36"/>
          <p:cNvSpPr/>
          <p:nvPr/>
        </p:nvSpPr>
        <p:spPr>
          <a:xfrm>
            <a:off x="4402524" y="1346001"/>
            <a:ext cx="7853327" cy="4945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Face detection</a:t>
            </a:r>
            <a:br>
              <a:rPr kumimoji="0" lang="en-US" altLang="zh-CN" sz="3919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altLang="zh-CN" sz="215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Detect faces and their attributes within an image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Face verification</a:t>
            </a:r>
            <a:b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kumimoji="0" lang="en-US" altLang="zh-CN" sz="215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Check if two faces belong to the same person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Similar face searching</a:t>
            </a:r>
            <a:b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altLang="zh-CN" sz="215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Find similar faces within a set of images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Face grouping</a:t>
            </a:r>
            <a:b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altLang="zh-CN" sz="215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Organize many faces into groups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Face identification</a:t>
            </a:r>
            <a:b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altLang="zh-CN" sz="215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Search which person a face belongs to</a:t>
            </a:r>
          </a:p>
        </p:txBody>
      </p:sp>
    </p:spTree>
    <p:extLst>
      <p:ext uri="{BB962C8B-B14F-4D97-AF65-F5344CB8AC3E}">
        <p14:creationId xmlns:p14="http://schemas.microsoft.com/office/powerpoint/2010/main" val="274182533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3298" y="1483319"/>
            <a:ext cx="4037336" cy="4902308"/>
            <a:chOff x="368576" y="2418573"/>
            <a:chExt cx="2859104" cy="3471647"/>
          </a:xfrm>
        </p:grpSpPr>
        <p:pic>
          <p:nvPicPr>
            <p:cNvPr id="39" name="Picture 3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92" t="4307" r="4946" b="6764"/>
            <a:stretch/>
          </p:blipFill>
          <p:spPr>
            <a:xfrm>
              <a:off x="368576" y="2418573"/>
              <a:ext cx="2859104" cy="3471647"/>
            </a:xfrm>
            <a:prstGeom prst="rect">
              <a:avLst/>
            </a:prstGeom>
          </p:spPr>
        </p:pic>
        <p:grpSp>
          <p:nvGrpSpPr>
            <p:cNvPr id="22" name="Group 21"/>
            <p:cNvGrpSpPr/>
            <p:nvPr/>
          </p:nvGrpSpPr>
          <p:grpSpPr>
            <a:xfrm>
              <a:off x="970179" y="3281486"/>
              <a:ext cx="1540682" cy="1513000"/>
              <a:chOff x="5485480" y="1442886"/>
              <a:chExt cx="1571575" cy="1543339"/>
            </a:xfrm>
          </p:grpSpPr>
          <p:sp>
            <p:nvSpPr>
              <p:cNvPr id="23" name="Rectangle 22"/>
              <p:cNvSpPr/>
              <p:nvPr/>
            </p:nvSpPr>
            <p:spPr bwMode="auto">
              <a:xfrm>
                <a:off x="5485480" y="1442886"/>
                <a:ext cx="1571575" cy="1543339"/>
              </a:xfrm>
              <a:prstGeom prst="rect">
                <a:avLst/>
              </a:prstGeom>
              <a:noFill/>
              <a:ln w="28575">
                <a:solidFill>
                  <a:srgbClr val="5C2D9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145" tIns="143316" rIns="179145" bIns="14331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367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 bwMode="auto">
              <a:xfrm>
                <a:off x="5507330" y="1459327"/>
                <a:ext cx="1527878" cy="1510457"/>
              </a:xfrm>
              <a:prstGeom prst="rect">
                <a:avLst/>
              </a:prstGeom>
              <a:noFill/>
              <a:ln w="28575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145" tIns="143316" rIns="179145" bIns="14331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367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0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151390" y="490831"/>
            <a:ext cx="941642" cy="511318"/>
            <a:chOff x="-2418910" y="4474409"/>
            <a:chExt cx="961137" cy="521904"/>
          </a:xfrm>
        </p:grpSpPr>
        <p:grpSp>
          <p:nvGrpSpPr>
            <p:cNvPr id="68" name="Group 67"/>
            <p:cNvGrpSpPr/>
            <p:nvPr/>
          </p:nvGrpSpPr>
          <p:grpSpPr>
            <a:xfrm>
              <a:off x="-2418910" y="4474409"/>
              <a:ext cx="961137" cy="521904"/>
              <a:chOff x="-4859148" y="3104846"/>
              <a:chExt cx="2543854" cy="1381329"/>
            </a:xfrm>
          </p:grpSpPr>
          <p:pic>
            <p:nvPicPr>
              <p:cNvPr id="73" name="Picture 7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859148" y="3104846"/>
                <a:ext cx="2543854" cy="1381329"/>
              </a:xfrm>
              <a:prstGeom prst="rect">
                <a:avLst/>
              </a:prstGeom>
            </p:spPr>
          </p:pic>
          <p:sp>
            <p:nvSpPr>
              <p:cNvPr id="74" name="Oval 73"/>
              <p:cNvSpPr/>
              <p:nvPr/>
            </p:nvSpPr>
            <p:spPr bwMode="auto">
              <a:xfrm>
                <a:off x="-4127480" y="3334872"/>
                <a:ext cx="1080521" cy="92127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-2033289" y="4677183"/>
              <a:ext cx="189894" cy="145540"/>
              <a:chOff x="-2451196" y="2889116"/>
              <a:chExt cx="650875" cy="498849"/>
            </a:xfrm>
          </p:grpSpPr>
          <p:sp>
            <p:nvSpPr>
              <p:cNvPr id="70" name="Oval 69"/>
              <p:cNvSpPr/>
              <p:nvPr/>
            </p:nvSpPr>
            <p:spPr bwMode="auto">
              <a:xfrm>
                <a:off x="-2427050" y="2889116"/>
                <a:ext cx="159543" cy="159543"/>
              </a:xfrm>
              <a:prstGeom prst="ellipse">
                <a:avLst/>
              </a:prstGeom>
              <a:solidFill>
                <a:srgbClr val="000000"/>
              </a:solidFill>
              <a:ln w="3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691" rIns="0" bIns="4569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 bwMode="auto">
              <a:xfrm>
                <a:off x="-1998863" y="2889116"/>
                <a:ext cx="159543" cy="159543"/>
              </a:xfrm>
              <a:prstGeom prst="ellipse">
                <a:avLst/>
              </a:prstGeom>
              <a:solidFill>
                <a:srgbClr val="000000"/>
              </a:solidFill>
              <a:ln w="3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691" rIns="0" bIns="4569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72" name="Freeform 5"/>
              <p:cNvSpPr>
                <a:spLocks/>
              </p:cNvSpPr>
              <p:nvPr/>
            </p:nvSpPr>
            <p:spPr bwMode="auto">
              <a:xfrm>
                <a:off x="-2451196" y="3160951"/>
                <a:ext cx="650875" cy="227014"/>
              </a:xfrm>
              <a:custGeom>
                <a:avLst/>
                <a:gdLst>
                  <a:gd name="T0" fmla="*/ 0 w 197"/>
                  <a:gd name="T1" fmla="*/ 0 h 67"/>
                  <a:gd name="T2" fmla="*/ 98 w 197"/>
                  <a:gd name="T3" fmla="*/ 67 h 67"/>
                  <a:gd name="T4" fmla="*/ 197 w 197"/>
                  <a:gd name="T5" fmla="*/ 0 h 67"/>
                  <a:gd name="T6" fmla="*/ 98 w 197"/>
                  <a:gd name="T7" fmla="*/ 32 h 67"/>
                  <a:gd name="T8" fmla="*/ 0 w 197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7" h="67">
                    <a:moveTo>
                      <a:pt x="0" y="0"/>
                    </a:moveTo>
                    <a:cubicBezTo>
                      <a:pt x="15" y="39"/>
                      <a:pt x="53" y="67"/>
                      <a:pt x="98" y="67"/>
                    </a:cubicBezTo>
                    <a:cubicBezTo>
                      <a:pt x="143" y="67"/>
                      <a:pt x="182" y="39"/>
                      <a:pt x="197" y="0"/>
                    </a:cubicBezTo>
                    <a:cubicBezTo>
                      <a:pt x="170" y="20"/>
                      <a:pt x="135" y="32"/>
                      <a:pt x="98" y="32"/>
                    </a:cubicBezTo>
                    <a:cubicBezTo>
                      <a:pt x="61" y="32"/>
                      <a:pt x="27" y="20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89585" tIns="44793" rIns="89585" bIns="447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58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Fac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306442" y="1292726"/>
            <a:ext cx="7706624" cy="5282609"/>
            <a:chOff x="4395598" y="1316760"/>
            <a:chExt cx="7866175" cy="5391976"/>
          </a:xfrm>
        </p:grpSpPr>
        <p:sp>
          <p:nvSpPr>
            <p:cNvPr id="18" name="TextBox 17"/>
            <p:cNvSpPr txBox="1"/>
            <p:nvPr/>
          </p:nvSpPr>
          <p:spPr>
            <a:xfrm>
              <a:off x="4406354" y="1316760"/>
              <a:ext cx="7713231" cy="1330130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179145" tIns="143316" rIns="179145" bIns="143316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Detection</a:t>
              </a:r>
            </a:p>
            <a:p>
              <a:pPr marL="0" marR="0" lvl="2" indent="0" defTabSz="91349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</a:t>
              </a:r>
              <a:r>
                <a:rPr kumimoji="0" lang="en-US" altLang="en-US" sz="1421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faceRectangle</a:t>
              </a: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: {"width": 193, "height": 193, "left": 326, "top": 204}</a:t>
              </a:r>
            </a:p>
            <a:p>
              <a:pPr marL="456832" marR="0" lvl="2" indent="0" defTabSz="91366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	… 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395598" y="2600367"/>
              <a:ext cx="7866175" cy="127569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179145" tIns="143316" rIns="179145" bIns="143316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Feature attributes</a:t>
              </a:r>
            </a:p>
            <a:p>
              <a:pPr marL="0" marR="0" lvl="1" indent="0" defTabSz="913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attributes": { "age": 42, "gender": "male", 	</a:t>
              </a:r>
            </a:p>
            <a:p>
              <a:pPr marL="0" marR="0" lvl="1" indent="0" defTabSz="913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									 "</a:t>
              </a:r>
              <a:r>
                <a:rPr kumimoji="0" lang="en-US" altLang="en-US" sz="1421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headPose</a:t>
              </a:r>
              <a:r>
                <a:rPr kumimoji="0" lang="en-US" altLang="en-US" sz="142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": { "roll": "8.2", "yaw": "-37.8", "pitch": "0.0" }} 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395598" y="3851569"/>
              <a:ext cx="3513900" cy="75247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179145" tIns="143316" rIns="179145" bIns="143316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Grouping</a:t>
              </a:r>
            </a:p>
          </p:txBody>
        </p:sp>
        <p:grpSp>
          <p:nvGrpSpPr>
            <p:cNvPr id="43" name="Group 42"/>
            <p:cNvGrpSpPr/>
            <p:nvPr/>
          </p:nvGrpSpPr>
          <p:grpSpPr>
            <a:xfrm>
              <a:off x="4614353" y="4615967"/>
              <a:ext cx="2002430" cy="779487"/>
              <a:chOff x="899334" y="5681329"/>
              <a:chExt cx="2292817" cy="764273"/>
            </a:xfrm>
          </p:grpSpPr>
          <p:pic>
            <p:nvPicPr>
              <p:cNvPr id="2053" name="Picture 5" descr="https://microsoft.sharepoint.com/teams/BrandCentral/BundleImages/1755WIN13_Shamiro_10/PreviewImage.png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899334" y="5681329"/>
                <a:ext cx="764272" cy="7642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7" name="Picture 9" descr="https://microsoft.sharepoint.com/teams/BrandCentral/BundleImages/3085WIN13_Shamiro_09/PreviewImage.png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2427879" y="5681329"/>
                <a:ext cx="764272" cy="7642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9" name="Picture 11" descr="https://microsoft.sharepoint.com/teams/BrandCentral/BundleImages/3082WIN13_Shamiro_06/PreviewImage.png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663607" y="5681330"/>
                <a:ext cx="764272" cy="7642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1" name="TextBox 20"/>
            <p:cNvSpPr txBox="1"/>
            <p:nvPr/>
          </p:nvSpPr>
          <p:spPr>
            <a:xfrm>
              <a:off x="4395598" y="5602322"/>
              <a:ext cx="3719070" cy="110641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179145" tIns="143316" rIns="179145" bIns="143316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Identification</a:t>
              </a:r>
            </a:p>
            <a:p>
              <a:pPr marL="0" marR="0" lvl="0" indent="-457057" defTabSz="91366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Jasper William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490060" y="1874662"/>
            <a:ext cx="7704956" cy="4215637"/>
            <a:chOff x="4583017" y="1910744"/>
            <a:chExt cx="7864473" cy="4302914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4583017" y="1910744"/>
              <a:ext cx="7853456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4583017" y="3194072"/>
              <a:ext cx="7864473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4614353" y="4524668"/>
              <a:ext cx="7833137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4603336" y="6213658"/>
              <a:ext cx="7833137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91623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875E-6 3.91285E-6 L -0.03674 3.91285E-6 " pathEditMode="relative" rAng="0" ptsTypes="AA">
                                      <p:cBhvr>
                                        <p:cTn id="13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564776" y="1692503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Vision Demo</a:t>
            </a:r>
          </a:p>
        </p:txBody>
      </p:sp>
      <p:sp>
        <p:nvSpPr>
          <p:cNvPr id="24" name="Freeform 22"/>
          <p:cNvSpPr>
            <a:spLocks noChangeAspect="1"/>
          </p:cNvSpPr>
          <p:nvPr/>
        </p:nvSpPr>
        <p:spPr bwMode="auto">
          <a:xfrm>
            <a:off x="5777887" y="2765597"/>
            <a:ext cx="661251" cy="437566"/>
          </a:xfrm>
          <a:custGeom>
            <a:avLst/>
            <a:gdLst>
              <a:gd name="T0" fmla="*/ 4942 w 7181"/>
              <a:gd name="T1" fmla="*/ 414 h 4752"/>
              <a:gd name="T2" fmla="*/ 3024 w 7181"/>
              <a:gd name="T3" fmla="*/ 152 h 4752"/>
              <a:gd name="T4" fmla="*/ 0 w 7181"/>
              <a:gd name="T5" fmla="*/ 2353 h 4752"/>
              <a:gd name="T6" fmla="*/ 2201 w 7181"/>
              <a:gd name="T7" fmla="*/ 4282 h 4752"/>
              <a:gd name="T8" fmla="*/ 4848 w 7181"/>
              <a:gd name="T9" fmla="*/ 4351 h 4752"/>
              <a:gd name="T10" fmla="*/ 7102 w 7181"/>
              <a:gd name="T11" fmla="*/ 2474 h 4752"/>
              <a:gd name="T12" fmla="*/ 7181 w 7181"/>
              <a:gd name="T13" fmla="*/ 2350 h 4752"/>
              <a:gd name="T14" fmla="*/ 4942 w 7181"/>
              <a:gd name="T15" fmla="*/ 414 h 4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81" h="4752">
                <a:moveTo>
                  <a:pt x="4942" y="414"/>
                </a:moveTo>
                <a:cubicBezTo>
                  <a:pt x="4333" y="124"/>
                  <a:pt x="3691" y="0"/>
                  <a:pt x="3024" y="152"/>
                </a:cubicBezTo>
                <a:cubicBezTo>
                  <a:pt x="1710" y="456"/>
                  <a:pt x="812" y="1327"/>
                  <a:pt x="0" y="2353"/>
                </a:cubicBezTo>
                <a:cubicBezTo>
                  <a:pt x="608" y="3169"/>
                  <a:pt x="1306" y="3839"/>
                  <a:pt x="2201" y="4282"/>
                </a:cubicBezTo>
                <a:cubicBezTo>
                  <a:pt x="3069" y="4710"/>
                  <a:pt x="3957" y="4752"/>
                  <a:pt x="4848" y="4351"/>
                </a:cubicBezTo>
                <a:cubicBezTo>
                  <a:pt x="5771" y="3932"/>
                  <a:pt x="6490" y="3269"/>
                  <a:pt x="7102" y="2474"/>
                </a:cubicBezTo>
                <a:cubicBezTo>
                  <a:pt x="7129" y="2436"/>
                  <a:pt x="7154" y="2395"/>
                  <a:pt x="7181" y="2350"/>
                </a:cubicBezTo>
                <a:cubicBezTo>
                  <a:pt x="6570" y="1534"/>
                  <a:pt x="5861" y="853"/>
                  <a:pt x="4942" y="4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060512" y="3496004"/>
            <a:ext cx="6096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From faces to feelings, allow your </a:t>
            </a:r>
            <a:b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pps to understand images and video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244587" y="4682707"/>
            <a:ext cx="5727851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Computer Vision | Emotion | Face | Video</a:t>
            </a:r>
          </a:p>
        </p:txBody>
      </p:sp>
      <p:sp>
        <p:nvSpPr>
          <p:cNvPr id="2" name="矩形 1"/>
          <p:cNvSpPr/>
          <p:nvPr/>
        </p:nvSpPr>
        <p:spPr>
          <a:xfrm>
            <a:off x="2423592" y="5805264"/>
            <a:ext cx="77810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dirty="0">
                <a:solidFill>
                  <a:schemeClr val="bg1"/>
                </a:solidFill>
                <a:hlinkClick r:id="rId3"/>
              </a:rPr>
              <a:t>https://www.microsoft.com/cognitive-services/en-us/emotion-api</a:t>
            </a:r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21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4" descr="https://microsoft.sharepoint.com/teams/BrandCentral/BundleImages/3958WIN13_Josee_04/PreviewImage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2" t="25540" r="1929"/>
          <a:stretch/>
        </p:blipFill>
        <p:spPr bwMode="auto">
          <a:xfrm>
            <a:off x="0" y="2673"/>
            <a:ext cx="12192560" cy="6859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118808" y="4093156"/>
            <a:ext cx="10349121" cy="2783495"/>
          </a:xfrm>
          <a:prstGeom prst="rect">
            <a:avLst/>
          </a:prstGeom>
        </p:spPr>
        <p:txBody>
          <a:bodyPr vert="horz" lIns="91356" tIns="45677" rIns="91356" bIns="45677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>
                <a:solidFill>
                  <a:srgbClr val="00A99D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798" b="0" i="0" u="none" strike="noStrike" kern="1200" cap="none" spc="0" normalizeH="0" baseline="0" noProof="0" dirty="0">
              <a:ln>
                <a:noFill/>
              </a:ln>
              <a:solidFill>
                <a:srgbClr val="00A99D"/>
              </a:solidFill>
              <a:effectLst/>
              <a:uLnTx/>
              <a:uFillTx/>
              <a:latin typeface="Segoe UI Light" panose="020B0502040204020203" pitchFamily="34" charset="0"/>
              <a:ea typeface="+mj-ea"/>
              <a:cs typeface="Segoe UI Light" panose="020B0502040204020203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807884" y="2105612"/>
            <a:ext cx="7179235" cy="4546679"/>
            <a:chOff x="3610447" y="2611627"/>
            <a:chExt cx="7184836" cy="4084282"/>
          </a:xfrm>
        </p:grpSpPr>
        <p:sp>
          <p:nvSpPr>
            <p:cNvPr id="4" name="Rectangle 3"/>
            <p:cNvSpPr/>
            <p:nvPr/>
          </p:nvSpPr>
          <p:spPr bwMode="auto">
            <a:xfrm>
              <a:off x="3610447" y="2712909"/>
              <a:ext cx="7184836" cy="3983000"/>
            </a:xfrm>
            <a:prstGeom prst="rect">
              <a:avLst/>
            </a:prstGeom>
            <a:solidFill>
              <a:schemeClr val="accent2">
                <a:alpha val="90000"/>
              </a:schemeClr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00" rIns="0" bIns="46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172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  <p:sp>
          <p:nvSpPr>
            <p:cNvPr id="6" name="Title 1"/>
            <p:cNvSpPr txBox="1">
              <a:spLocks/>
            </p:cNvSpPr>
            <p:nvPr/>
          </p:nvSpPr>
          <p:spPr>
            <a:xfrm>
              <a:off x="5539544" y="2611627"/>
              <a:ext cx="4717148" cy="990696"/>
            </a:xfrm>
            <a:prstGeom prst="rect">
              <a:avLst/>
            </a:prstGeom>
          </p:spPr>
          <p:txBody>
            <a:bodyPr vert="horz" lIns="91356" tIns="45677" rIns="91356" bIns="45677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366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5289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Video</a:t>
              </a:r>
              <a:r>
                <a:rPr kumimoji="0" lang="en-US" sz="528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j-ea"/>
                  <a:cs typeface="+mj-cs"/>
                </a:rPr>
                <a:t> APIs</a:t>
              </a: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3610447" y="2714541"/>
              <a:ext cx="1849176" cy="917445"/>
            </a:xfrm>
            <a:custGeom>
              <a:avLst/>
              <a:gdLst>
                <a:gd name="T0" fmla="*/ 914 w 1165"/>
                <a:gd name="T1" fmla="*/ 578 h 578"/>
                <a:gd name="T2" fmla="*/ 0 w 1165"/>
                <a:gd name="T3" fmla="*/ 578 h 578"/>
                <a:gd name="T4" fmla="*/ 0 w 1165"/>
                <a:gd name="T5" fmla="*/ 0 h 578"/>
                <a:gd name="T6" fmla="*/ 1165 w 1165"/>
                <a:gd name="T7" fmla="*/ 0 h 578"/>
                <a:gd name="T8" fmla="*/ 914 w 1165"/>
                <a:gd name="T9" fmla="*/ 578 h 578"/>
                <a:gd name="T10" fmla="*/ 914 w 1165"/>
                <a:gd name="T11" fmla="*/ 578 h 578"/>
                <a:gd name="T12" fmla="*/ 914 w 1165"/>
                <a:gd name="T13" fmla="*/ 578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5" h="578">
                  <a:moveTo>
                    <a:pt x="914" y="578"/>
                  </a:moveTo>
                  <a:lnTo>
                    <a:pt x="0" y="578"/>
                  </a:lnTo>
                  <a:lnTo>
                    <a:pt x="0" y="0"/>
                  </a:lnTo>
                  <a:lnTo>
                    <a:pt x="1165" y="0"/>
                  </a:lnTo>
                  <a:lnTo>
                    <a:pt x="914" y="578"/>
                  </a:lnTo>
                  <a:lnTo>
                    <a:pt x="914" y="578"/>
                  </a:lnTo>
                  <a:lnTo>
                    <a:pt x="914" y="5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5126598" y="3346741"/>
            <a:ext cx="6579209" cy="3066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Stabilization</a:t>
            </a:r>
            <a:br>
              <a:rPr kumimoji="0" lang="en-US" altLang="zh-CN" sz="274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Smooth and stabilize shaky video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Face detection and tracking</a:t>
            </a:r>
            <a:br>
              <a:rPr kumimoji="0" lang="en-US" altLang="zh-CN" sz="352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Detect and track faces in videos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Motion detection</a:t>
            </a:r>
            <a:br>
              <a:rPr kumimoji="0" lang="en-US" altLang="zh-CN" sz="274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Detect when motion occur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126598" y="2468364"/>
            <a:ext cx="941642" cy="511318"/>
            <a:chOff x="5232734" y="2516738"/>
            <a:chExt cx="961137" cy="521904"/>
          </a:xfrm>
        </p:grpSpPr>
        <p:grpSp>
          <p:nvGrpSpPr>
            <p:cNvPr id="22" name="Group 21"/>
            <p:cNvGrpSpPr/>
            <p:nvPr/>
          </p:nvGrpSpPr>
          <p:grpSpPr>
            <a:xfrm>
              <a:off x="5232734" y="2516738"/>
              <a:ext cx="961137" cy="521904"/>
              <a:chOff x="-4859148" y="3104846"/>
              <a:chExt cx="2543854" cy="1381329"/>
            </a:xfrm>
          </p:grpSpPr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4859148" y="3104846"/>
                <a:ext cx="2543854" cy="1381329"/>
              </a:xfrm>
              <a:prstGeom prst="rect">
                <a:avLst/>
              </a:prstGeom>
            </p:spPr>
          </p:pic>
          <p:sp>
            <p:nvSpPr>
              <p:cNvPr id="27" name="Oval 26"/>
              <p:cNvSpPr/>
              <p:nvPr/>
            </p:nvSpPr>
            <p:spPr bwMode="auto">
              <a:xfrm>
                <a:off x="-4127480" y="3334872"/>
                <a:ext cx="1080521" cy="92127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" name="Isosceles Triangle 7"/>
            <p:cNvSpPr/>
            <p:nvPr/>
          </p:nvSpPr>
          <p:spPr bwMode="auto">
            <a:xfrm rot="5400000">
              <a:off x="5650009" y="2699568"/>
              <a:ext cx="174951" cy="170795"/>
            </a:xfrm>
            <a:prstGeom prst="triangl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4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966325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29454" y="1365228"/>
            <a:ext cx="10306843" cy="1899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The Stabilization API provides automatic video stabilization and smoothing for shaky videos 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This API uses many of the same technologies found in Microsoft </a:t>
            </a:r>
            <a:r>
              <a:rPr kumimoji="0" lang="en-US" sz="1959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Hyperlapse</a:t>
            </a:r>
            <a:endParaRPr kumimoji="0" lang="en-US" sz="1959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effectLst/>
              <a:uLnTx/>
              <a:uFillTx/>
            </a:endParaRP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Best For:</a:t>
            </a:r>
            <a:b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Small camera motions, with or without rolling shutter effects </a:t>
            </a:r>
            <a:b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(e.g., holding a static camera, walking with a slow speed)</a:t>
            </a:r>
          </a:p>
        </p:txBody>
      </p:sp>
      <p:pic>
        <p:nvPicPr>
          <p:cNvPr id="5" name="7201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9225" b="17628"/>
          <a:stretch/>
        </p:blipFill>
        <p:spPr>
          <a:xfrm>
            <a:off x="1516759" y="3613608"/>
            <a:ext cx="7900360" cy="2806246"/>
          </a:xfrm>
          <a:prstGeom prst="rect">
            <a:avLst/>
          </a:prstGeom>
        </p:spPr>
      </p:pic>
      <p:sp>
        <p:nvSpPr>
          <p:cNvPr id="8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33021" y="506015"/>
            <a:ext cx="941642" cy="511318"/>
            <a:chOff x="5232734" y="2516738"/>
            <a:chExt cx="961137" cy="521904"/>
          </a:xfrm>
        </p:grpSpPr>
        <p:grpSp>
          <p:nvGrpSpPr>
            <p:cNvPr id="10" name="Group 9"/>
            <p:cNvGrpSpPr/>
            <p:nvPr/>
          </p:nvGrpSpPr>
          <p:grpSpPr>
            <a:xfrm>
              <a:off x="5232734" y="2516738"/>
              <a:ext cx="961137" cy="521904"/>
              <a:chOff x="-4859148" y="3104846"/>
              <a:chExt cx="2543854" cy="1381329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4859148" y="3104846"/>
                <a:ext cx="2543854" cy="1381329"/>
              </a:xfrm>
              <a:prstGeom prst="rect">
                <a:avLst/>
              </a:prstGeom>
            </p:spPr>
          </p:pic>
          <p:sp>
            <p:nvSpPr>
              <p:cNvPr id="14" name="Oval 13"/>
              <p:cNvSpPr/>
              <p:nvPr/>
            </p:nvSpPr>
            <p:spPr bwMode="auto">
              <a:xfrm>
                <a:off x="-4127480" y="3334872"/>
                <a:ext cx="1080521" cy="92127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1" name="Isosceles Triangle 10"/>
            <p:cNvSpPr/>
            <p:nvPr/>
          </p:nvSpPr>
          <p:spPr bwMode="auto">
            <a:xfrm rot="5400000">
              <a:off x="5650009" y="2699568"/>
              <a:ext cx="174951" cy="170795"/>
            </a:xfrm>
            <a:prstGeom prst="triangl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4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Stabilization</a:t>
            </a:r>
          </a:p>
        </p:txBody>
      </p:sp>
    </p:spTree>
    <p:extLst>
      <p:ext uri="{BB962C8B-B14F-4D97-AF65-F5344CB8AC3E}">
        <p14:creationId xmlns:p14="http://schemas.microsoft.com/office/powerpoint/2010/main" val="13807190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7867E-6 2.63731E-6 L -0.03673 2.63731E-6 " pathEditMode="relative" rAng="0" ptsTypes="AA">
                                      <p:cBhvr>
                                        <p:cTn id="12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  <p:bldLst>
      <p:bldP spid="2" grpId="0"/>
      <p:bldP spid="2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5644186" y="3470143"/>
            <a:ext cx="6092110" cy="268639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5855575" y="3839376"/>
          <a:ext cx="5742522" cy="1828440"/>
        </p:xfrm>
        <a:graphic>
          <a:graphicData uri="http://schemas.openxmlformats.org/drawingml/2006/table">
            <a:tbl>
              <a:tblPr/>
              <a:tblGrid>
                <a:gridCol w="1247260">
                  <a:extLst>
                    <a:ext uri="{9D8B030D-6E8A-4147-A177-3AD203B41FA5}">
                      <a16:colId xmlns:a16="http://schemas.microsoft.com/office/drawing/2014/main" val="3375547447"/>
                    </a:ext>
                  </a:extLst>
                </a:gridCol>
                <a:gridCol w="1170060">
                  <a:extLst>
                    <a:ext uri="{9D8B030D-6E8A-4147-A177-3AD203B41FA5}">
                      <a16:colId xmlns:a16="http://schemas.microsoft.com/office/drawing/2014/main" val="1189730251"/>
                    </a:ext>
                  </a:extLst>
                </a:gridCol>
                <a:gridCol w="1477398">
                  <a:extLst>
                    <a:ext uri="{9D8B030D-6E8A-4147-A177-3AD203B41FA5}">
                      <a16:colId xmlns:a16="http://schemas.microsoft.com/office/drawing/2014/main" val="21486925"/>
                    </a:ext>
                  </a:extLst>
                </a:gridCol>
                <a:gridCol w="1847804">
                  <a:extLst>
                    <a:ext uri="{9D8B030D-6E8A-4147-A177-3AD203B41FA5}">
                      <a16:colId xmlns:a16="http://schemas.microsoft.com/office/drawing/2014/main" val="2520384609"/>
                    </a:ext>
                  </a:extLst>
                </a:gridCol>
              </a:tblGrid>
              <a:tr h="365475"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Time</a:t>
                      </a:r>
                      <a:r>
                        <a:rPr lang="en-US" sz="1800" b="1" baseline="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 </a:t>
                      </a:r>
                      <a:r>
                        <a:rPr lang="en-US" sz="16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(sec)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Face ID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x, y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Width, height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441252"/>
                  </a:ext>
                </a:extLst>
              </a:tr>
              <a:tr h="365475"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59, 0.23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09, 0.16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253465"/>
                  </a:ext>
                </a:extLst>
              </a:tr>
              <a:tr h="365475"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1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38, 0.15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07, 0.12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6151538"/>
                  </a:ext>
                </a:extLst>
              </a:tr>
              <a:tr h="365475"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1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54, 0.25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09, 0.15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9048635"/>
                  </a:ext>
                </a:extLst>
              </a:tr>
              <a:tr h="365475">
                <a:tc>
                  <a:txBody>
                    <a:bodyPr/>
                    <a:lstStyle/>
                    <a:p>
                      <a:r>
                        <a:rPr lang="en-US" sz="180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1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1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23, 0.18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.07, 0.12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09125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6987" r="7049" b="1425"/>
          <a:stretch/>
        </p:blipFill>
        <p:spPr>
          <a:xfrm>
            <a:off x="1514151" y="3470143"/>
            <a:ext cx="4130035" cy="268639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Face detection and tracking</a:t>
            </a:r>
          </a:p>
        </p:txBody>
      </p:sp>
      <p:sp>
        <p:nvSpPr>
          <p:cNvPr id="15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33021" y="506015"/>
            <a:ext cx="941642" cy="511318"/>
            <a:chOff x="5232734" y="2516738"/>
            <a:chExt cx="961137" cy="521904"/>
          </a:xfrm>
        </p:grpSpPr>
        <p:grpSp>
          <p:nvGrpSpPr>
            <p:cNvPr id="20" name="Group 19"/>
            <p:cNvGrpSpPr/>
            <p:nvPr/>
          </p:nvGrpSpPr>
          <p:grpSpPr>
            <a:xfrm>
              <a:off x="5232734" y="2516738"/>
              <a:ext cx="961137" cy="521904"/>
              <a:chOff x="-4859148" y="3104846"/>
              <a:chExt cx="2543854" cy="1381329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859148" y="3104846"/>
                <a:ext cx="2543854" cy="1381329"/>
              </a:xfrm>
              <a:prstGeom prst="rect">
                <a:avLst/>
              </a:prstGeom>
            </p:spPr>
          </p:pic>
          <p:sp>
            <p:nvSpPr>
              <p:cNvPr id="23" name="Oval 22"/>
              <p:cNvSpPr/>
              <p:nvPr/>
            </p:nvSpPr>
            <p:spPr bwMode="auto">
              <a:xfrm>
                <a:off x="-4127480" y="3334872"/>
                <a:ext cx="1080521" cy="92127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Isosceles Triangle 20"/>
            <p:cNvSpPr/>
            <p:nvPr/>
          </p:nvSpPr>
          <p:spPr bwMode="auto">
            <a:xfrm rot="5400000">
              <a:off x="5650009" y="2699568"/>
              <a:ext cx="174951" cy="170795"/>
            </a:xfrm>
            <a:prstGeom prst="triangl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4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1429454" y="1373155"/>
            <a:ext cx="10306843" cy="1598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High precision face location detection and tracking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Can detect up to 64 human faces in a video (no smaller than 24x24 pixels) 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Detected and tracked faces are returned with coordinates and a Face ID </a:t>
            </a:r>
            <a:b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to track throughout the video</a:t>
            </a:r>
          </a:p>
        </p:txBody>
      </p:sp>
    </p:spTree>
    <p:extLst>
      <p:ext uri="{BB962C8B-B14F-4D97-AF65-F5344CB8AC3E}">
        <p14:creationId xmlns:p14="http://schemas.microsoft.com/office/powerpoint/2010/main" val="40274859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7867E-6 -3.70858E-6 L -0.03673 -3.70858E-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4" grpId="0"/>
      <p:bldP spid="24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auto">
          <a:xfrm>
            <a:off x="5644186" y="3470143"/>
            <a:ext cx="6092110" cy="268639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sp>
        <p:nvSpPr>
          <p:cNvPr id="13" name="Title 7"/>
          <p:cNvSpPr txBox="1">
            <a:spLocks/>
          </p:cNvSpPr>
          <p:nvPr/>
        </p:nvSpPr>
        <p:spPr>
          <a:xfrm>
            <a:off x="1489546" y="-1224242"/>
            <a:ext cx="10371608" cy="916730"/>
          </a:xfrm>
          <a:prstGeom prst="rect">
            <a:avLst/>
          </a:prstGeom>
        </p:spPr>
        <p:txBody>
          <a:bodyPr vert="horz" wrap="square" lIns="146170" tIns="91356" rIns="146170" bIns="91356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19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289" b="0" i="0" u="none" strike="noStrike" kern="1200" cap="none" spc="-102" normalizeH="0" baseline="0" noProof="0" dirty="0">
              <a:ln w="3175"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8201" t="11815" r="8897" b="18922"/>
          <a:stretch/>
        </p:blipFill>
        <p:spPr>
          <a:xfrm>
            <a:off x="1514151" y="3470143"/>
            <a:ext cx="4132439" cy="2681341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49963" y="4132302"/>
          <a:ext cx="5378952" cy="1407627"/>
        </p:xfrm>
        <a:graphic>
          <a:graphicData uri="http://schemas.openxmlformats.org/drawingml/2006/table">
            <a:tbl>
              <a:tblPr/>
              <a:tblGrid>
                <a:gridCol w="1792984">
                  <a:extLst>
                    <a:ext uri="{9D8B030D-6E8A-4147-A177-3AD203B41FA5}">
                      <a16:colId xmlns:a16="http://schemas.microsoft.com/office/drawing/2014/main" val="1915136461"/>
                    </a:ext>
                  </a:extLst>
                </a:gridCol>
                <a:gridCol w="1792984">
                  <a:extLst>
                    <a:ext uri="{9D8B030D-6E8A-4147-A177-3AD203B41FA5}">
                      <a16:colId xmlns:a16="http://schemas.microsoft.com/office/drawing/2014/main" val="157180553"/>
                    </a:ext>
                  </a:extLst>
                </a:gridCol>
                <a:gridCol w="1792984">
                  <a:extLst>
                    <a:ext uri="{9D8B030D-6E8A-4147-A177-3AD203B41FA5}">
                      <a16:colId xmlns:a16="http://schemas.microsoft.com/office/drawing/2014/main" val="4163951107"/>
                    </a:ext>
                  </a:extLst>
                </a:gridCol>
              </a:tblGrid>
              <a:tr h="469209"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Start time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End time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In region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1295576"/>
                  </a:ext>
                </a:extLst>
              </a:tr>
              <a:tr h="469209"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1.9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3.6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4368200"/>
                  </a:ext>
                </a:extLst>
              </a:tr>
              <a:tr h="469209"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5.2</a:t>
                      </a:r>
                    </a:p>
                  </a:txBody>
                  <a:tcPr marL="91368" marR="91368" marT="45684" marB="45684" anchor="ctr">
                    <a:lnL>
                      <a:noFill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15.1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gradFill>
                            <a:gsLst>
                              <a:gs pos="1250">
                                <a:schemeClr val="accent2"/>
                              </a:gs>
                              <a:gs pos="100000">
                                <a:schemeClr val="accent2"/>
                              </a:gs>
                            </a:gsLst>
                            <a:lin ang="5400000" scaled="0"/>
                          </a:gradFill>
                          <a:effectLst/>
                          <a:latin typeface="wf_segoe-ui_normal"/>
                        </a:rPr>
                        <a:t>0</a:t>
                      </a:r>
                    </a:p>
                  </a:txBody>
                  <a:tcPr marL="91368" marR="91368" marT="45684" marB="45684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557974"/>
                  </a:ext>
                </a:extLst>
              </a:tr>
            </a:tbl>
          </a:graphicData>
        </a:graphic>
      </p:graphicFrame>
      <p:sp>
        <p:nvSpPr>
          <p:cNvPr id="11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133021" y="506015"/>
            <a:ext cx="941642" cy="511318"/>
            <a:chOff x="5232734" y="2516738"/>
            <a:chExt cx="961137" cy="521904"/>
          </a:xfrm>
        </p:grpSpPr>
        <p:grpSp>
          <p:nvGrpSpPr>
            <p:cNvPr id="18" name="Group 17"/>
            <p:cNvGrpSpPr/>
            <p:nvPr/>
          </p:nvGrpSpPr>
          <p:grpSpPr>
            <a:xfrm>
              <a:off x="5232734" y="2516738"/>
              <a:ext cx="961137" cy="521904"/>
              <a:chOff x="-4859148" y="3104846"/>
              <a:chExt cx="2543854" cy="1381329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859148" y="3104846"/>
                <a:ext cx="2543854" cy="1381329"/>
              </a:xfrm>
              <a:prstGeom prst="rect">
                <a:avLst/>
              </a:prstGeom>
            </p:spPr>
          </p:pic>
          <p:sp>
            <p:nvSpPr>
              <p:cNvPr id="21" name="Oval 20"/>
              <p:cNvSpPr/>
              <p:nvPr/>
            </p:nvSpPr>
            <p:spPr bwMode="auto">
              <a:xfrm>
                <a:off x="-4127480" y="3334872"/>
                <a:ext cx="1080521" cy="92127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9" name="Isosceles Triangle 18"/>
            <p:cNvSpPr/>
            <p:nvPr/>
          </p:nvSpPr>
          <p:spPr bwMode="auto">
            <a:xfrm rot="5400000">
              <a:off x="5650009" y="2699568"/>
              <a:ext cx="174951" cy="170795"/>
            </a:xfrm>
            <a:prstGeom prst="triangl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4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otion detection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-860220" y="-191581"/>
            <a:ext cx="0" cy="7637527"/>
          </a:xfrm>
          <a:prstGeom prst="line">
            <a:avLst/>
          </a:prstGeom>
          <a:ln>
            <a:solidFill>
              <a:srgbClr val="FFC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1429454" y="1373155"/>
            <a:ext cx="10306843" cy="1899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Indicates when motion occurs against a fixed background (e.g., surveillance video) 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Trained to reduce false alarms, such as lighting and shadow changes </a:t>
            </a:r>
          </a:p>
          <a:p>
            <a:pPr marL="0" marR="0" lvl="0" indent="0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Current limitations:</a:t>
            </a:r>
          </a:p>
          <a:p>
            <a:pPr marL="179168" marR="0" lvl="0" indent="-179168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No support for night-vision videos </a:t>
            </a:r>
          </a:p>
          <a:p>
            <a:pPr marL="179168" marR="0" lvl="0" indent="-179168" defTabSz="9136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5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Semi-transparent and small objects are not detected well </a:t>
            </a:r>
          </a:p>
        </p:txBody>
      </p:sp>
    </p:spTree>
    <p:extLst>
      <p:ext uri="{BB962C8B-B14F-4D97-AF65-F5344CB8AC3E}">
        <p14:creationId xmlns:p14="http://schemas.microsoft.com/office/powerpoint/2010/main" val="37550615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animMotion origin="layout" path="M 0.01518 0.00046 L 1.18382E-6 -4.08988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7867E-6 8.57921E-7 L -0.03673 8.57921E-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13" grpId="0"/>
      <p:bldP spid="13" grpId="1"/>
      <p:bldP spid="25" grpId="0"/>
      <p:bldP spid="25" grpId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564776" y="1692503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peech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855310" y="3496004"/>
            <a:ext cx="6506404" cy="1166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Hear and speak to your users by filtering noise, identifying speakers, and understanding intent</a:t>
            </a:r>
          </a:p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497589" y="4662477"/>
            <a:ext cx="7221849" cy="8340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Custom Recognition | Speaker Recognition | Speech</a:t>
            </a:r>
          </a:p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6" name="Freeform 18"/>
          <p:cNvSpPr>
            <a:spLocks noChangeAspect="1"/>
          </p:cNvSpPr>
          <p:nvPr/>
        </p:nvSpPr>
        <p:spPr bwMode="auto">
          <a:xfrm>
            <a:off x="5852609" y="2765597"/>
            <a:ext cx="586529" cy="513795"/>
          </a:xfrm>
          <a:custGeom>
            <a:avLst/>
            <a:gdLst>
              <a:gd name="T0" fmla="*/ 115 w 6349"/>
              <a:gd name="T1" fmla="*/ 1548 h 5575"/>
              <a:gd name="T2" fmla="*/ 1324 w 6349"/>
              <a:gd name="T3" fmla="*/ 225 h 5575"/>
              <a:gd name="T4" fmla="*/ 5039 w 6349"/>
              <a:gd name="T5" fmla="*/ 228 h 5575"/>
              <a:gd name="T6" fmla="*/ 6221 w 6349"/>
              <a:gd name="T7" fmla="*/ 1445 h 5575"/>
              <a:gd name="T8" fmla="*/ 6235 w 6349"/>
              <a:gd name="T9" fmla="*/ 3263 h 5575"/>
              <a:gd name="T10" fmla="*/ 4974 w 6349"/>
              <a:gd name="T11" fmla="*/ 4531 h 5575"/>
              <a:gd name="T12" fmla="*/ 3498 w 6349"/>
              <a:gd name="T13" fmla="*/ 4683 h 5575"/>
              <a:gd name="T14" fmla="*/ 3298 w 6349"/>
              <a:gd name="T15" fmla="*/ 4745 h 5575"/>
              <a:gd name="T16" fmla="*/ 2475 w 6349"/>
              <a:gd name="T17" fmla="*/ 5284 h 5575"/>
              <a:gd name="T18" fmla="*/ 1414 w 6349"/>
              <a:gd name="T19" fmla="*/ 5561 h 5575"/>
              <a:gd name="T20" fmla="*/ 1936 w 6349"/>
              <a:gd name="T21" fmla="*/ 4628 h 5575"/>
              <a:gd name="T22" fmla="*/ 1490 w 6349"/>
              <a:gd name="T23" fmla="*/ 4559 h 5575"/>
              <a:gd name="T24" fmla="*/ 118 w 6349"/>
              <a:gd name="T25" fmla="*/ 3270 h 5575"/>
              <a:gd name="T26" fmla="*/ 115 w 6349"/>
              <a:gd name="T27" fmla="*/ 1548 h 5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9" h="5575">
                <a:moveTo>
                  <a:pt x="115" y="1548"/>
                </a:moveTo>
                <a:cubicBezTo>
                  <a:pt x="211" y="957"/>
                  <a:pt x="595" y="353"/>
                  <a:pt x="1324" y="225"/>
                </a:cubicBezTo>
                <a:cubicBezTo>
                  <a:pt x="2565" y="10"/>
                  <a:pt x="3802" y="0"/>
                  <a:pt x="5039" y="228"/>
                </a:cubicBezTo>
                <a:cubicBezTo>
                  <a:pt x="5713" y="353"/>
                  <a:pt x="6086" y="792"/>
                  <a:pt x="6221" y="1445"/>
                </a:cubicBezTo>
                <a:cubicBezTo>
                  <a:pt x="6349" y="2050"/>
                  <a:pt x="6339" y="2658"/>
                  <a:pt x="6235" y="3263"/>
                </a:cubicBezTo>
                <a:cubicBezTo>
                  <a:pt x="6135" y="3847"/>
                  <a:pt x="5724" y="4438"/>
                  <a:pt x="4974" y="4531"/>
                </a:cubicBezTo>
                <a:cubicBezTo>
                  <a:pt x="4483" y="4590"/>
                  <a:pt x="3989" y="4631"/>
                  <a:pt x="3498" y="4683"/>
                </a:cubicBezTo>
                <a:cubicBezTo>
                  <a:pt x="3429" y="4690"/>
                  <a:pt x="3356" y="4707"/>
                  <a:pt x="3298" y="4745"/>
                </a:cubicBezTo>
                <a:cubicBezTo>
                  <a:pt x="3021" y="4921"/>
                  <a:pt x="2869" y="5125"/>
                  <a:pt x="2475" y="5284"/>
                </a:cubicBezTo>
                <a:cubicBezTo>
                  <a:pt x="2154" y="5423"/>
                  <a:pt x="1466" y="5575"/>
                  <a:pt x="1414" y="5561"/>
                </a:cubicBezTo>
                <a:cubicBezTo>
                  <a:pt x="1390" y="5523"/>
                  <a:pt x="1894" y="4963"/>
                  <a:pt x="1936" y="4628"/>
                </a:cubicBezTo>
                <a:cubicBezTo>
                  <a:pt x="1760" y="4600"/>
                  <a:pt x="1625" y="4579"/>
                  <a:pt x="1490" y="4559"/>
                </a:cubicBezTo>
                <a:cubicBezTo>
                  <a:pt x="719" y="4441"/>
                  <a:pt x="277" y="4013"/>
                  <a:pt x="118" y="3270"/>
                </a:cubicBezTo>
                <a:cubicBezTo>
                  <a:pt x="0" y="2665"/>
                  <a:pt x="35" y="2056"/>
                  <a:pt x="115" y="15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9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https://microsoft.sharepoint.com/teams/BrandCentral/BundleImages/5830Surface_019_Cafe_Window_05173_VS_R1b/PreviewImage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4753" y="2674"/>
            <a:ext cx="12182495" cy="687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118808" y="4093156"/>
            <a:ext cx="10349121" cy="2783495"/>
          </a:xfrm>
          <a:prstGeom prst="rect">
            <a:avLst/>
          </a:prstGeom>
        </p:spPr>
        <p:txBody>
          <a:bodyPr vert="horz" lIns="91356" tIns="45677" rIns="91356" bIns="45677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>
                <a:solidFill>
                  <a:srgbClr val="00A99D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798" b="0" i="0" u="none" strike="noStrike" kern="1200" cap="none" spc="0" normalizeH="0" baseline="0" noProof="0" dirty="0">
              <a:ln>
                <a:noFill/>
              </a:ln>
              <a:solidFill>
                <a:srgbClr val="00A99D"/>
              </a:solidFill>
              <a:effectLst/>
              <a:uLnTx/>
              <a:uFillTx/>
              <a:latin typeface="Segoe UI Light" panose="020B0502040204020203" pitchFamily="34" charset="0"/>
              <a:ea typeface="+mj-ea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4184449" y="2218360"/>
            <a:ext cx="7730709" cy="4346127"/>
          </a:xfrm>
          <a:prstGeom prst="rect">
            <a:avLst/>
          </a:prstGeom>
          <a:solidFill>
            <a:srgbClr val="004BBB">
              <a:alpha val="92000"/>
            </a:srgb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00" rIns="0" bIns="466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172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112277" y="2105612"/>
            <a:ext cx="4713471" cy="1102856"/>
          </a:xfrm>
          <a:prstGeom prst="rect">
            <a:avLst/>
          </a:prstGeom>
        </p:spPr>
        <p:txBody>
          <a:bodyPr vert="horz" lIns="91356" tIns="45677" rIns="91356" bIns="45677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5289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peech</a:t>
            </a:r>
            <a:r>
              <a:rPr kumimoji="0" lang="en-US" sz="528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j-ea"/>
                <a:cs typeface="+mj-cs"/>
              </a:rPr>
              <a:t> APIs</a:t>
            </a:r>
          </a:p>
        </p:txBody>
      </p:sp>
      <p:sp>
        <p:nvSpPr>
          <p:cNvPr id="15" name="Freeform 5"/>
          <p:cNvSpPr>
            <a:spLocks/>
          </p:cNvSpPr>
          <p:nvPr/>
        </p:nvSpPr>
        <p:spPr bwMode="auto">
          <a:xfrm>
            <a:off x="4184683" y="2220177"/>
            <a:ext cx="1847734" cy="1021313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5" h="578">
                <a:moveTo>
                  <a:pt x="914" y="578"/>
                </a:moveTo>
                <a:lnTo>
                  <a:pt x="0" y="578"/>
                </a:lnTo>
                <a:lnTo>
                  <a:pt x="0" y="0"/>
                </a:lnTo>
                <a:lnTo>
                  <a:pt x="1165" y="0"/>
                </a:lnTo>
                <a:lnTo>
                  <a:pt x="914" y="578"/>
                </a:lnTo>
                <a:lnTo>
                  <a:pt x="914" y="578"/>
                </a:lnTo>
                <a:lnTo>
                  <a:pt x="914" y="5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4451746" y="2332514"/>
            <a:ext cx="1054494" cy="802535"/>
            <a:chOff x="4543910" y="2378075"/>
            <a:chExt cx="1076325" cy="819150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4543910" y="2378075"/>
              <a:ext cx="1076325" cy="819150"/>
            </a:xfrm>
            <a:custGeom>
              <a:avLst/>
              <a:gdLst>
                <a:gd name="T0" fmla="*/ 538 w 702"/>
                <a:gd name="T1" fmla="*/ 12 h 534"/>
                <a:gd name="T2" fmla="*/ 184 w 702"/>
                <a:gd name="T3" fmla="*/ 13 h 534"/>
                <a:gd name="T4" fmla="*/ 0 w 702"/>
                <a:gd name="T5" fmla="*/ 180 h 534"/>
                <a:gd name="T6" fmla="*/ 0 w 702"/>
                <a:gd name="T7" fmla="*/ 267 h 534"/>
                <a:gd name="T8" fmla="*/ 156 w 702"/>
                <a:gd name="T9" fmla="*/ 439 h 534"/>
                <a:gd name="T10" fmla="*/ 209 w 702"/>
                <a:gd name="T11" fmla="*/ 443 h 534"/>
                <a:gd name="T12" fmla="*/ 209 w 702"/>
                <a:gd name="T13" fmla="*/ 443 h 534"/>
                <a:gd name="T14" fmla="*/ 151 w 702"/>
                <a:gd name="T15" fmla="*/ 531 h 534"/>
                <a:gd name="T16" fmla="*/ 262 w 702"/>
                <a:gd name="T17" fmla="*/ 510 h 534"/>
                <a:gd name="T18" fmla="*/ 335 w 702"/>
                <a:gd name="T19" fmla="*/ 473 h 534"/>
                <a:gd name="T20" fmla="*/ 394 w 702"/>
                <a:gd name="T21" fmla="*/ 448 h 534"/>
                <a:gd name="T22" fmla="*/ 394 w 702"/>
                <a:gd name="T23" fmla="*/ 448 h 534"/>
                <a:gd name="T24" fmla="*/ 408 w 702"/>
                <a:gd name="T25" fmla="*/ 448 h 534"/>
                <a:gd name="T26" fmla="*/ 542 w 702"/>
                <a:gd name="T27" fmla="*/ 439 h 534"/>
                <a:gd name="T28" fmla="*/ 702 w 702"/>
                <a:gd name="T29" fmla="*/ 267 h 534"/>
                <a:gd name="T30" fmla="*/ 702 w 702"/>
                <a:gd name="T31" fmla="*/ 180 h 534"/>
                <a:gd name="T32" fmla="*/ 538 w 702"/>
                <a:gd name="T33" fmla="*/ 1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2" h="534">
                  <a:moveTo>
                    <a:pt x="538" y="12"/>
                  </a:moveTo>
                  <a:cubicBezTo>
                    <a:pt x="449" y="0"/>
                    <a:pt x="272" y="2"/>
                    <a:pt x="184" y="13"/>
                  </a:cubicBezTo>
                  <a:cubicBezTo>
                    <a:pt x="96" y="23"/>
                    <a:pt x="0" y="72"/>
                    <a:pt x="0" y="18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372"/>
                    <a:pt x="88" y="430"/>
                    <a:pt x="156" y="439"/>
                  </a:cubicBezTo>
                  <a:cubicBezTo>
                    <a:pt x="169" y="440"/>
                    <a:pt x="187" y="442"/>
                    <a:pt x="209" y="443"/>
                  </a:cubicBezTo>
                  <a:cubicBezTo>
                    <a:pt x="209" y="443"/>
                    <a:pt x="209" y="443"/>
                    <a:pt x="209" y="443"/>
                  </a:cubicBezTo>
                  <a:cubicBezTo>
                    <a:pt x="209" y="443"/>
                    <a:pt x="220" y="459"/>
                    <a:pt x="151" y="531"/>
                  </a:cubicBezTo>
                  <a:cubicBezTo>
                    <a:pt x="148" y="534"/>
                    <a:pt x="215" y="526"/>
                    <a:pt x="262" y="510"/>
                  </a:cubicBezTo>
                  <a:cubicBezTo>
                    <a:pt x="309" y="494"/>
                    <a:pt x="307" y="490"/>
                    <a:pt x="335" y="473"/>
                  </a:cubicBezTo>
                  <a:cubicBezTo>
                    <a:pt x="363" y="456"/>
                    <a:pt x="356" y="456"/>
                    <a:pt x="394" y="448"/>
                  </a:cubicBezTo>
                  <a:cubicBezTo>
                    <a:pt x="394" y="448"/>
                    <a:pt x="394" y="448"/>
                    <a:pt x="394" y="448"/>
                  </a:cubicBezTo>
                  <a:cubicBezTo>
                    <a:pt x="399" y="448"/>
                    <a:pt x="403" y="448"/>
                    <a:pt x="408" y="448"/>
                  </a:cubicBezTo>
                  <a:cubicBezTo>
                    <a:pt x="458" y="447"/>
                    <a:pt x="506" y="444"/>
                    <a:pt x="542" y="439"/>
                  </a:cubicBezTo>
                  <a:cubicBezTo>
                    <a:pt x="645" y="423"/>
                    <a:pt x="702" y="361"/>
                    <a:pt x="702" y="267"/>
                  </a:cubicBezTo>
                  <a:cubicBezTo>
                    <a:pt x="702" y="180"/>
                    <a:pt x="702" y="180"/>
                    <a:pt x="702" y="180"/>
                  </a:cubicBezTo>
                  <a:cubicBezTo>
                    <a:pt x="702" y="85"/>
                    <a:pt x="628" y="24"/>
                    <a:pt x="538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4710706" y="2492027"/>
              <a:ext cx="747713" cy="449263"/>
            </a:xfrm>
            <a:custGeom>
              <a:avLst/>
              <a:gdLst>
                <a:gd name="T0" fmla="*/ 379 w 488"/>
                <a:gd name="T1" fmla="*/ 282 h 293"/>
                <a:gd name="T2" fmla="*/ 109 w 488"/>
                <a:gd name="T3" fmla="*/ 282 h 293"/>
                <a:gd name="T4" fmla="*/ 0 w 488"/>
                <a:gd name="T5" fmla="*/ 171 h 293"/>
                <a:gd name="T6" fmla="*/ 0 w 488"/>
                <a:gd name="T7" fmla="*/ 116 h 293"/>
                <a:gd name="T8" fmla="*/ 129 w 488"/>
                <a:gd name="T9" fmla="*/ 7 h 293"/>
                <a:gd name="T10" fmla="*/ 377 w 488"/>
                <a:gd name="T11" fmla="*/ 7 h 293"/>
                <a:gd name="T12" fmla="*/ 488 w 488"/>
                <a:gd name="T13" fmla="*/ 116 h 293"/>
                <a:gd name="T14" fmla="*/ 488 w 488"/>
                <a:gd name="T15" fmla="*/ 171 h 293"/>
                <a:gd name="T16" fmla="*/ 379 w 488"/>
                <a:gd name="T17" fmla="*/ 28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93">
                  <a:moveTo>
                    <a:pt x="379" y="282"/>
                  </a:moveTo>
                  <a:cubicBezTo>
                    <a:pt x="306" y="293"/>
                    <a:pt x="157" y="288"/>
                    <a:pt x="109" y="282"/>
                  </a:cubicBezTo>
                  <a:cubicBezTo>
                    <a:pt x="62" y="277"/>
                    <a:pt x="0" y="233"/>
                    <a:pt x="0" y="17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55"/>
                    <a:pt x="67" y="14"/>
                    <a:pt x="129" y="7"/>
                  </a:cubicBezTo>
                  <a:cubicBezTo>
                    <a:pt x="190" y="1"/>
                    <a:pt x="314" y="0"/>
                    <a:pt x="377" y="7"/>
                  </a:cubicBezTo>
                  <a:cubicBezTo>
                    <a:pt x="439" y="15"/>
                    <a:pt x="488" y="55"/>
                    <a:pt x="488" y="116"/>
                  </a:cubicBezTo>
                  <a:cubicBezTo>
                    <a:pt x="488" y="171"/>
                    <a:pt x="488" y="171"/>
                    <a:pt x="488" y="171"/>
                  </a:cubicBezTo>
                  <a:cubicBezTo>
                    <a:pt x="488" y="233"/>
                    <a:pt x="451" y="272"/>
                    <a:pt x="379" y="2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Oval 7"/>
            <p:cNvSpPr>
              <a:spLocks noChangeArrowheads="1"/>
            </p:cNvSpPr>
            <p:nvPr/>
          </p:nvSpPr>
          <p:spPr bwMode="auto">
            <a:xfrm>
              <a:off x="521553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Oval 8"/>
            <p:cNvSpPr>
              <a:spLocks noChangeArrowheads="1"/>
            </p:cNvSpPr>
            <p:nvPr/>
          </p:nvSpPr>
          <p:spPr bwMode="auto">
            <a:xfrm>
              <a:off x="504408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Oval 9"/>
            <p:cNvSpPr>
              <a:spLocks noChangeArrowheads="1"/>
            </p:cNvSpPr>
            <p:nvPr/>
          </p:nvSpPr>
          <p:spPr bwMode="auto">
            <a:xfrm>
              <a:off x="4871043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748333" y="3346741"/>
            <a:ext cx="6957474" cy="3066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Voice recognition (speech to text)</a:t>
            </a:r>
            <a:br>
              <a:rPr kumimoji="0" lang="en-US" altLang="zh-CN" sz="274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Converts spoken audio to text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Voice output (text to speech)</a:t>
            </a:r>
            <a:br>
              <a:rPr kumimoji="0" lang="en-US" altLang="zh-CN" sz="352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Synthesize audio from text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Speech intent recognition</a:t>
            </a:r>
            <a:br>
              <a:rPr kumimoji="0" lang="en-US" altLang="zh-CN" sz="274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Convert spoken audio to intent</a:t>
            </a:r>
          </a:p>
        </p:txBody>
      </p:sp>
    </p:spTree>
    <p:extLst>
      <p:ext uri="{BB962C8B-B14F-4D97-AF65-F5344CB8AC3E}">
        <p14:creationId xmlns:p14="http://schemas.microsoft.com/office/powerpoint/2010/main" val="2556179028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Microsoft </a:t>
            </a:r>
            <a:r>
              <a:rPr lang="en-US" dirty="0"/>
              <a:t>Cognitive Services</a:t>
            </a:r>
          </a:p>
        </p:txBody>
      </p:sp>
      <p:sp>
        <p:nvSpPr>
          <p:cNvPr id="15" name="Rectangle 14"/>
          <p:cNvSpPr>
            <a:spLocks/>
          </p:cNvSpPr>
          <p:nvPr/>
        </p:nvSpPr>
        <p:spPr bwMode="auto">
          <a:xfrm>
            <a:off x="7896753" y="1237280"/>
            <a:ext cx="3909563" cy="780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470" tIns="43734" rIns="87470" bIns="43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891460">
              <a:defRPr/>
            </a:pPr>
            <a:endParaRPr lang="en-US" sz="1730" b="1" kern="0">
              <a:solidFill>
                <a:srgbClr val="FFB900"/>
              </a:solidFill>
              <a:latin typeface="Segoe UI"/>
            </a:endParaRPr>
          </a:p>
        </p:txBody>
      </p:sp>
      <p:sp>
        <p:nvSpPr>
          <p:cNvPr id="16" name="Rectangle 15"/>
          <p:cNvSpPr>
            <a:spLocks/>
          </p:cNvSpPr>
          <p:nvPr/>
        </p:nvSpPr>
        <p:spPr bwMode="auto">
          <a:xfrm>
            <a:off x="7896753" y="1237280"/>
            <a:ext cx="3909563" cy="780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470" tIns="43734" rIns="87470" bIns="43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891460">
              <a:defRPr/>
            </a:pPr>
            <a:endParaRPr lang="en-US" sz="1730" b="1" kern="0">
              <a:solidFill>
                <a:srgbClr val="FFB900"/>
              </a:solidFill>
              <a:latin typeface="Segoe UI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53952" y="3586513"/>
            <a:ext cx="2098974" cy="627407"/>
            <a:chOff x="6827777" y="4411662"/>
            <a:chExt cx="2459932" cy="533400"/>
          </a:xfrm>
          <a:solidFill>
            <a:schemeClr val="tx1"/>
          </a:solidFill>
        </p:grpSpPr>
        <p:sp>
          <p:nvSpPr>
            <p:cNvPr id="10" name="Flowchart: Process 8"/>
            <p:cNvSpPr/>
            <p:nvPr/>
          </p:nvSpPr>
          <p:spPr bwMode="auto">
            <a:xfrm>
              <a:off x="6827777" y="44116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996044" y="4520801"/>
              <a:ext cx="2121554" cy="329012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Emotion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682513" y="3586513"/>
            <a:ext cx="2195928" cy="627407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17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888747" y="5125889"/>
              <a:ext cx="2273093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Bing Speech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682512" y="4299874"/>
            <a:ext cx="2195928" cy="627407"/>
            <a:chOff x="9701909" y="5630862"/>
            <a:chExt cx="2459932" cy="533400"/>
          </a:xfrm>
          <a:solidFill>
            <a:schemeClr val="tx1"/>
          </a:solidFill>
        </p:grpSpPr>
        <p:sp>
          <p:nvSpPr>
            <p:cNvPr id="22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9838466" y="5631889"/>
              <a:ext cx="2162814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600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Speaker Recognition</a:t>
              </a:r>
              <a:endParaRPr lang="en-US" sz="1600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677806" y="2873152"/>
            <a:ext cx="2199076" cy="627404"/>
            <a:chOff x="9701907" y="3192460"/>
            <a:chExt cx="2459932" cy="533400"/>
          </a:xfrm>
          <a:solidFill>
            <a:schemeClr val="tx1"/>
          </a:solidFill>
        </p:grpSpPr>
        <p:sp>
          <p:nvSpPr>
            <p:cNvPr id="27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836450" y="3268662"/>
              <a:ext cx="2321868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600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Custom Recognition</a:t>
              </a:r>
              <a:endParaRPr lang="en-US" sz="1600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53952" y="2873151"/>
            <a:ext cx="2099966" cy="627407"/>
            <a:chOff x="6827776" y="3192468"/>
            <a:chExt cx="2459933" cy="533401"/>
          </a:xfrm>
          <a:solidFill>
            <a:schemeClr val="tx1"/>
          </a:solidFill>
        </p:grpSpPr>
        <p:sp>
          <p:nvSpPr>
            <p:cNvPr id="32" name="Flowchart: Process 8"/>
            <p:cNvSpPr/>
            <p:nvPr/>
          </p:nvSpPr>
          <p:spPr bwMode="auto">
            <a:xfrm>
              <a:off x="6827776" y="3192468"/>
              <a:ext cx="2459933" cy="53340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986793" y="3268665"/>
              <a:ext cx="2130806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Computer Vision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53952" y="4299874"/>
            <a:ext cx="2101318" cy="627407"/>
            <a:chOff x="6827777" y="3802062"/>
            <a:chExt cx="2459932" cy="533400"/>
          </a:xfrm>
          <a:solidFill>
            <a:schemeClr val="tx1"/>
          </a:solidFill>
        </p:grpSpPr>
        <p:sp>
          <p:nvSpPr>
            <p:cNvPr id="37" name="Flowchart: Process 8"/>
            <p:cNvSpPr/>
            <p:nvPr/>
          </p:nvSpPr>
          <p:spPr bwMode="auto">
            <a:xfrm>
              <a:off x="6827777" y="38020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014491" y="3892910"/>
              <a:ext cx="2103108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Face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53952" y="5013236"/>
            <a:ext cx="2098975" cy="627407"/>
            <a:chOff x="6827777" y="3802062"/>
            <a:chExt cx="2459932" cy="533400"/>
          </a:xfrm>
          <a:solidFill>
            <a:schemeClr val="tx1"/>
          </a:solidFill>
        </p:grpSpPr>
        <p:sp>
          <p:nvSpPr>
            <p:cNvPr id="42" name="Flowchart: Process 8"/>
            <p:cNvSpPr/>
            <p:nvPr/>
          </p:nvSpPr>
          <p:spPr bwMode="auto">
            <a:xfrm>
              <a:off x="6827777" y="38020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94719" y="3892910"/>
              <a:ext cx="2122880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Video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653" y="2289264"/>
            <a:ext cx="296411" cy="359581"/>
          </a:xfrm>
          <a:prstGeom prst="rect">
            <a:avLst/>
          </a:prstGeom>
        </p:spPr>
      </p:pic>
      <p:sp>
        <p:nvSpPr>
          <p:cNvPr id="45" name="Right Bracket 44"/>
          <p:cNvSpPr/>
          <p:nvPr/>
        </p:nvSpPr>
        <p:spPr>
          <a:xfrm rot="16200000">
            <a:off x="5936439" y="-3734799"/>
            <a:ext cx="209908" cy="11578822"/>
          </a:xfrm>
          <a:prstGeom prst="rightBracket">
            <a:avLst>
              <a:gd name="adj" fmla="val 78933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9">
              <a:defRPr/>
            </a:pPr>
            <a:endParaRPr lang="en-US" ker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69241" y="1302646"/>
            <a:ext cx="11655840" cy="557611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lIns="116970" tIns="58484" rIns="116970" bIns="58484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8559">
              <a:defRPr/>
            </a:pPr>
            <a:r>
              <a:rPr lang="en-US" sz="3333" b="1" kern="0" dirty="0">
                <a:solidFill>
                  <a:srgbClr val="505050"/>
                </a:solidFill>
                <a:latin typeface="Segoe UI Light"/>
              </a:rPr>
              <a:t>microsoft.com/cognitive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9616294" y="2169084"/>
            <a:ext cx="2178717" cy="627408"/>
            <a:chOff x="803519" y="1881281"/>
            <a:chExt cx="2222721" cy="640080"/>
          </a:xfrm>
        </p:grpSpPr>
        <p:sp>
          <p:nvSpPr>
            <p:cNvPr id="50" name="Rectangle 49"/>
            <p:cNvSpPr/>
            <p:nvPr/>
          </p:nvSpPr>
          <p:spPr>
            <a:xfrm>
              <a:off x="803519" y="1881281"/>
              <a:ext cx="2222721" cy="640080"/>
            </a:xfrm>
            <a:prstGeom prst="rect">
              <a:avLst/>
            </a:prstGeom>
            <a:solidFill>
              <a:srgbClr val="009580"/>
            </a:solidFill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8390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202293" y="1886159"/>
              <a:ext cx="1402359" cy="627912"/>
            </a:xfrm>
            <a:prstGeom prst="rect">
              <a:avLst/>
            </a:prstGeom>
            <a:solidFill>
              <a:srgbClr val="009580"/>
            </a:solidFill>
            <a:ln>
              <a:noFill/>
            </a:ln>
          </p:spPr>
          <p:txBody>
            <a:bodyPr wrap="square" lIns="179259" tIns="143407" rIns="179259" bIns="143407" rtlCol="0" anchor="ctr">
              <a:spAutoFit/>
            </a:bodyPr>
            <a:lstStyle/>
            <a:p>
              <a:pPr defTabSz="896386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2353" kern="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Light"/>
                </a:rPr>
                <a:t>Search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2682462" y="2162051"/>
            <a:ext cx="2215536" cy="627408"/>
            <a:chOff x="803519" y="1881281"/>
            <a:chExt cx="2227717" cy="640080"/>
          </a:xfrm>
        </p:grpSpPr>
        <p:sp>
          <p:nvSpPr>
            <p:cNvPr id="57" name="Rectangle 56"/>
            <p:cNvSpPr/>
            <p:nvPr/>
          </p:nvSpPr>
          <p:spPr>
            <a:xfrm>
              <a:off x="803519" y="1881281"/>
              <a:ext cx="2227717" cy="640080"/>
            </a:xfrm>
            <a:prstGeom prst="rect">
              <a:avLst/>
            </a:prstGeom>
            <a:solidFill>
              <a:srgbClr val="009580"/>
            </a:solidFill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8390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213136" y="1886159"/>
              <a:ext cx="1533417" cy="627912"/>
            </a:xfrm>
            <a:prstGeom prst="rect">
              <a:avLst/>
            </a:prstGeom>
            <a:solidFill>
              <a:srgbClr val="009580"/>
            </a:solidFill>
            <a:ln>
              <a:noFill/>
            </a:ln>
          </p:spPr>
          <p:txBody>
            <a:bodyPr wrap="square" lIns="179259" tIns="143407" rIns="179259" bIns="143407" rtlCol="0" anchor="ctr">
              <a:spAutoFit/>
            </a:bodyPr>
            <a:lstStyle/>
            <a:p>
              <a:pPr defTabSz="896386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2353" kern="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Light"/>
                </a:rPr>
                <a:t>Speech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4994619" y="2170267"/>
            <a:ext cx="2185876" cy="627408"/>
            <a:chOff x="803520" y="1881281"/>
            <a:chExt cx="2230024" cy="640080"/>
          </a:xfrm>
        </p:grpSpPr>
        <p:sp>
          <p:nvSpPr>
            <p:cNvPr id="63" name="Rectangle 62"/>
            <p:cNvSpPr/>
            <p:nvPr/>
          </p:nvSpPr>
          <p:spPr>
            <a:xfrm>
              <a:off x="803520" y="1881281"/>
              <a:ext cx="2230024" cy="640080"/>
            </a:xfrm>
            <a:prstGeom prst="rect">
              <a:avLst/>
            </a:prstGeom>
            <a:solidFill>
              <a:srgbClr val="009580"/>
            </a:solidFill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8390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121106" y="1886159"/>
              <a:ext cx="1702127" cy="627912"/>
            </a:xfrm>
            <a:prstGeom prst="rect">
              <a:avLst/>
            </a:prstGeom>
            <a:solidFill>
              <a:srgbClr val="009580"/>
            </a:solidFill>
            <a:ln>
              <a:noFill/>
            </a:ln>
          </p:spPr>
          <p:txBody>
            <a:bodyPr wrap="square" lIns="179259" tIns="143407" rIns="179259" bIns="143407" rtlCol="0" anchor="ctr">
              <a:spAutoFit/>
            </a:bodyPr>
            <a:lstStyle/>
            <a:p>
              <a:pPr defTabSz="896386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2353" kern="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Light"/>
                </a:rPr>
                <a:t>Language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7309035" y="2169084"/>
            <a:ext cx="2178718" cy="627408"/>
            <a:chOff x="803520" y="1881281"/>
            <a:chExt cx="2222721" cy="640080"/>
          </a:xfrm>
        </p:grpSpPr>
        <p:sp>
          <p:nvSpPr>
            <p:cNvPr id="68" name="Rectangle 67"/>
            <p:cNvSpPr/>
            <p:nvPr/>
          </p:nvSpPr>
          <p:spPr>
            <a:xfrm>
              <a:off x="803520" y="1881281"/>
              <a:ext cx="2222721" cy="640080"/>
            </a:xfrm>
            <a:prstGeom prst="rect">
              <a:avLst/>
            </a:prstGeom>
            <a:solidFill>
              <a:srgbClr val="009580"/>
            </a:solidFill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8390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1147970" y="1886159"/>
              <a:ext cx="1824157" cy="627912"/>
            </a:xfrm>
            <a:prstGeom prst="rect">
              <a:avLst/>
            </a:prstGeom>
            <a:solidFill>
              <a:srgbClr val="009580"/>
            </a:solidFill>
            <a:ln>
              <a:noFill/>
            </a:ln>
          </p:spPr>
          <p:txBody>
            <a:bodyPr wrap="square" lIns="179259" tIns="143407" rIns="179259" bIns="143407" rtlCol="0" anchor="ctr">
              <a:spAutoFit/>
            </a:bodyPr>
            <a:lstStyle/>
            <a:p>
              <a:pPr defTabSz="896386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2353" kern="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Light"/>
                </a:rPr>
                <a:t>Knowledge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453952" y="2159789"/>
            <a:ext cx="2099968" cy="627408"/>
            <a:chOff x="803520" y="1881281"/>
            <a:chExt cx="2219313" cy="640080"/>
          </a:xfrm>
        </p:grpSpPr>
        <p:sp>
          <p:nvSpPr>
            <p:cNvPr id="73" name="Rectangle 72"/>
            <p:cNvSpPr/>
            <p:nvPr/>
          </p:nvSpPr>
          <p:spPr>
            <a:xfrm>
              <a:off x="803520" y="1881281"/>
              <a:ext cx="2219313" cy="640080"/>
            </a:xfrm>
            <a:prstGeom prst="rect">
              <a:avLst/>
            </a:prstGeom>
            <a:solidFill>
              <a:srgbClr val="009580"/>
            </a:solidFill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8390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227725" y="1886159"/>
              <a:ext cx="1177272" cy="6279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79259" tIns="143407" rIns="179259" bIns="143407" rtlCol="0" anchor="ctr">
              <a:spAutoFit/>
            </a:bodyPr>
            <a:lstStyle/>
            <a:p>
              <a:pPr defTabSz="896386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2353" kern="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Light"/>
                </a:rPr>
                <a:t>Vision</a:t>
              </a: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4993839" y="3586512"/>
            <a:ext cx="2171620" cy="1346099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78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9793736" y="5125889"/>
              <a:ext cx="2211413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Language Understanding Intelligent Service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5000770" y="2873152"/>
            <a:ext cx="2172490" cy="627404"/>
            <a:chOff x="9701907" y="3192460"/>
            <a:chExt cx="2459932" cy="533400"/>
          </a:xfrm>
          <a:solidFill>
            <a:schemeClr val="tx1"/>
          </a:solidFill>
        </p:grpSpPr>
        <p:sp>
          <p:nvSpPr>
            <p:cNvPr id="88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9836196" y="3268662"/>
              <a:ext cx="2325642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Spell Check</a:t>
              </a: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7320592" y="3586513"/>
            <a:ext cx="2171546" cy="627407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93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9869331" y="5125889"/>
              <a:ext cx="2143840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Entity Linking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7312722" y="4299874"/>
            <a:ext cx="2179416" cy="627407"/>
            <a:chOff x="9701909" y="5630862"/>
            <a:chExt cx="2459932" cy="533400"/>
          </a:xfrm>
          <a:solidFill>
            <a:schemeClr val="tx1"/>
          </a:solidFill>
        </p:grpSpPr>
        <p:sp>
          <p:nvSpPr>
            <p:cNvPr id="98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9870712" y="5631889"/>
              <a:ext cx="2130568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Knowledge Exploration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7297147" y="2873152"/>
            <a:ext cx="2182436" cy="627404"/>
            <a:chOff x="9701907" y="3192460"/>
            <a:chExt cx="2459932" cy="533400"/>
          </a:xfrm>
          <a:solidFill>
            <a:schemeClr val="tx1"/>
          </a:solidFill>
        </p:grpSpPr>
        <p:sp>
          <p:nvSpPr>
            <p:cNvPr id="103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9857784" y="3268662"/>
              <a:ext cx="2143840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Academic Knowledge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9603470" y="3586513"/>
            <a:ext cx="2175914" cy="627407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108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9815712" y="5125889"/>
              <a:ext cx="2289449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Bing Image Search</a:t>
              </a: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9614303" y="4299874"/>
            <a:ext cx="2170535" cy="627407"/>
            <a:chOff x="9701909" y="5630862"/>
            <a:chExt cx="2459932" cy="533400"/>
          </a:xfrm>
          <a:solidFill>
            <a:schemeClr val="tx1"/>
          </a:solidFill>
        </p:grpSpPr>
        <p:sp>
          <p:nvSpPr>
            <p:cNvPr id="113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9871713" y="5631889"/>
              <a:ext cx="2233474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Bing Video Search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9603470" y="2873152"/>
            <a:ext cx="2178939" cy="627404"/>
            <a:chOff x="9701907" y="3192460"/>
            <a:chExt cx="2459932" cy="533400"/>
          </a:xfrm>
          <a:solidFill>
            <a:schemeClr val="tx1"/>
          </a:solidFill>
        </p:grpSpPr>
        <p:sp>
          <p:nvSpPr>
            <p:cNvPr id="118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9812188" y="3268663"/>
              <a:ext cx="2289447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Bing Web Search</a:t>
              </a: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4979992" y="5724923"/>
            <a:ext cx="2171624" cy="627407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123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797893" y="5125889"/>
              <a:ext cx="2315047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Web Language Model</a:t>
              </a: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978482" y="5013236"/>
            <a:ext cx="2174643" cy="627404"/>
            <a:chOff x="9701907" y="3192460"/>
            <a:chExt cx="2459932" cy="533400"/>
          </a:xfrm>
          <a:solidFill>
            <a:schemeClr val="tx1"/>
          </a:solidFill>
        </p:grpSpPr>
        <p:sp>
          <p:nvSpPr>
            <p:cNvPr id="128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9794370" y="3268662"/>
              <a:ext cx="2315046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Text Analytics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sp>
        <p:nvSpPr>
          <p:cNvPr id="132" name="Rectangle 131"/>
          <p:cNvSpPr/>
          <p:nvPr/>
        </p:nvSpPr>
        <p:spPr>
          <a:xfrm>
            <a:off x="7318356" y="5013236"/>
            <a:ext cx="2161228" cy="62452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lIns="116954" tIns="58475" rIns="116954" bIns="58475" rtlCol="0" anchor="ctr"/>
          <a:lstStyle/>
          <a:p>
            <a:pPr defTabSz="878390">
              <a:defRPr/>
            </a:pPr>
            <a:r>
              <a:rPr lang="en-US" altLang="zh-TW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Recommendations</a:t>
            </a:r>
            <a:endParaRPr lang="en-US" sz="1765" kern="0" dirty="0">
              <a:gradFill>
                <a:gsLst>
                  <a:gs pos="0">
                    <a:srgbClr val="404040"/>
                  </a:gs>
                  <a:gs pos="100000">
                    <a:srgbClr val="404040"/>
                  </a:gs>
                </a:gsLst>
                <a:lin ang="5400000" scaled="0"/>
              </a:gradFill>
              <a:latin typeface="Segoe UI Light"/>
            </a:endParaRPr>
          </a:p>
        </p:txBody>
      </p:sp>
      <p:grpSp>
        <p:nvGrpSpPr>
          <p:cNvPr id="135" name="Group 134"/>
          <p:cNvGrpSpPr/>
          <p:nvPr/>
        </p:nvGrpSpPr>
        <p:grpSpPr>
          <a:xfrm>
            <a:off x="9639428" y="5724923"/>
            <a:ext cx="2167511" cy="627407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138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9863993" y="5125889"/>
              <a:ext cx="2149178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Bing Autosuggest</a:t>
              </a: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9630142" y="5013236"/>
            <a:ext cx="2170535" cy="627404"/>
            <a:chOff x="9701907" y="3192460"/>
            <a:chExt cx="2459932" cy="533400"/>
          </a:xfrm>
          <a:solidFill>
            <a:schemeClr val="tx1"/>
          </a:solidFill>
        </p:grpSpPr>
        <p:sp>
          <p:nvSpPr>
            <p:cNvPr id="143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9860469" y="3268662"/>
              <a:ext cx="2234825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Bing News Search</a:t>
              </a:r>
            </a:p>
          </p:txBody>
        </p:sp>
      </p:grpSp>
      <p:sp>
        <p:nvSpPr>
          <p:cNvPr id="99" name="Rectangle 98"/>
          <p:cNvSpPr/>
          <p:nvPr/>
        </p:nvSpPr>
        <p:spPr>
          <a:xfrm>
            <a:off x="269241" y="2004605"/>
            <a:ext cx="11655840" cy="4561882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332" tIns="59666" rIns="119332" bIns="59666" rtlCol="0" anchor="b"/>
          <a:lstStyle/>
          <a:p>
            <a:pPr defTabSz="896386">
              <a:defRPr/>
            </a:pPr>
            <a:endParaRPr lang="en-US" sz="1078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4" name="Group 103"/>
          <p:cNvGrpSpPr/>
          <p:nvPr/>
        </p:nvGrpSpPr>
        <p:grpSpPr>
          <a:xfrm>
            <a:off x="2686736" y="5013236"/>
            <a:ext cx="2185419" cy="617168"/>
            <a:chOff x="9701909" y="5021262"/>
            <a:chExt cx="2459932" cy="533400"/>
          </a:xfrm>
          <a:solidFill>
            <a:schemeClr val="tx1"/>
          </a:solidFill>
        </p:grpSpPr>
        <p:sp>
          <p:nvSpPr>
            <p:cNvPr id="106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7854" tIns="87854" rIns="32949" bIns="32949" rtlCol="0" anchor="b" anchorCtr="0"/>
            <a:lstStyle/>
            <a:p>
              <a:pPr algn="ctr" defTabSz="895687">
                <a:defRPr/>
              </a:pPr>
              <a:endParaRPr lang="en-US" sz="176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9797893" y="5125889"/>
              <a:ext cx="2315047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defTabSz="878390">
                <a:defRPr/>
              </a:pPr>
              <a:r>
                <a:rPr lang="en-US" altLang="zh-TW" sz="1765" kern="0" dirty="0"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latin typeface="Segoe UI Light"/>
                </a:rPr>
                <a:t>RT Translation</a:t>
              </a:r>
              <a:endParaRPr lang="en-US" sz="1765" kern="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endParaRPr>
            </a:p>
          </p:txBody>
        </p:sp>
      </p:grpSp>
      <p:sp>
        <p:nvSpPr>
          <p:cNvPr id="101" name="Freeform 22"/>
          <p:cNvSpPr>
            <a:spLocks noChangeAspect="1"/>
          </p:cNvSpPr>
          <p:nvPr/>
        </p:nvSpPr>
        <p:spPr bwMode="auto">
          <a:xfrm>
            <a:off x="540068" y="2361367"/>
            <a:ext cx="358570" cy="237274"/>
          </a:xfrm>
          <a:custGeom>
            <a:avLst/>
            <a:gdLst>
              <a:gd name="T0" fmla="*/ 4942 w 7181"/>
              <a:gd name="T1" fmla="*/ 414 h 4752"/>
              <a:gd name="T2" fmla="*/ 3024 w 7181"/>
              <a:gd name="T3" fmla="*/ 152 h 4752"/>
              <a:gd name="T4" fmla="*/ 0 w 7181"/>
              <a:gd name="T5" fmla="*/ 2353 h 4752"/>
              <a:gd name="T6" fmla="*/ 2201 w 7181"/>
              <a:gd name="T7" fmla="*/ 4282 h 4752"/>
              <a:gd name="T8" fmla="*/ 4848 w 7181"/>
              <a:gd name="T9" fmla="*/ 4351 h 4752"/>
              <a:gd name="T10" fmla="*/ 7102 w 7181"/>
              <a:gd name="T11" fmla="*/ 2474 h 4752"/>
              <a:gd name="T12" fmla="*/ 7181 w 7181"/>
              <a:gd name="T13" fmla="*/ 2350 h 4752"/>
              <a:gd name="T14" fmla="*/ 4942 w 7181"/>
              <a:gd name="T15" fmla="*/ 414 h 4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81" h="4752">
                <a:moveTo>
                  <a:pt x="4942" y="414"/>
                </a:moveTo>
                <a:cubicBezTo>
                  <a:pt x="4333" y="124"/>
                  <a:pt x="3691" y="0"/>
                  <a:pt x="3024" y="152"/>
                </a:cubicBezTo>
                <a:cubicBezTo>
                  <a:pt x="1710" y="456"/>
                  <a:pt x="812" y="1327"/>
                  <a:pt x="0" y="2353"/>
                </a:cubicBezTo>
                <a:cubicBezTo>
                  <a:pt x="608" y="3169"/>
                  <a:pt x="1306" y="3839"/>
                  <a:pt x="2201" y="4282"/>
                </a:cubicBezTo>
                <a:cubicBezTo>
                  <a:pt x="3069" y="4710"/>
                  <a:pt x="3957" y="4752"/>
                  <a:pt x="4848" y="4351"/>
                </a:cubicBezTo>
                <a:cubicBezTo>
                  <a:pt x="5771" y="3932"/>
                  <a:pt x="6490" y="3269"/>
                  <a:pt x="7102" y="2474"/>
                </a:cubicBezTo>
                <a:cubicBezTo>
                  <a:pt x="7129" y="2436"/>
                  <a:pt x="7154" y="2395"/>
                  <a:pt x="7181" y="2350"/>
                </a:cubicBezTo>
                <a:cubicBezTo>
                  <a:pt x="6570" y="1534"/>
                  <a:pt x="5861" y="853"/>
                  <a:pt x="4942" y="4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ysClr val="windowText" lastClr="000000"/>
              </a:solidFill>
              <a:latin typeface="Segoe UI"/>
            </a:endParaRPr>
          </a:p>
        </p:txBody>
      </p:sp>
      <p:sp>
        <p:nvSpPr>
          <p:cNvPr id="111" name="Freeform 18"/>
          <p:cNvSpPr>
            <a:spLocks noChangeAspect="1"/>
          </p:cNvSpPr>
          <p:nvPr/>
        </p:nvSpPr>
        <p:spPr bwMode="auto">
          <a:xfrm>
            <a:off x="2785270" y="2323732"/>
            <a:ext cx="356790" cy="312545"/>
          </a:xfrm>
          <a:custGeom>
            <a:avLst/>
            <a:gdLst>
              <a:gd name="T0" fmla="*/ 115 w 6349"/>
              <a:gd name="T1" fmla="*/ 1548 h 5575"/>
              <a:gd name="T2" fmla="*/ 1324 w 6349"/>
              <a:gd name="T3" fmla="*/ 225 h 5575"/>
              <a:gd name="T4" fmla="*/ 5039 w 6349"/>
              <a:gd name="T5" fmla="*/ 228 h 5575"/>
              <a:gd name="T6" fmla="*/ 6221 w 6349"/>
              <a:gd name="T7" fmla="*/ 1445 h 5575"/>
              <a:gd name="T8" fmla="*/ 6235 w 6349"/>
              <a:gd name="T9" fmla="*/ 3263 h 5575"/>
              <a:gd name="T10" fmla="*/ 4974 w 6349"/>
              <a:gd name="T11" fmla="*/ 4531 h 5575"/>
              <a:gd name="T12" fmla="*/ 3498 w 6349"/>
              <a:gd name="T13" fmla="*/ 4683 h 5575"/>
              <a:gd name="T14" fmla="*/ 3298 w 6349"/>
              <a:gd name="T15" fmla="*/ 4745 h 5575"/>
              <a:gd name="T16" fmla="*/ 2475 w 6349"/>
              <a:gd name="T17" fmla="*/ 5284 h 5575"/>
              <a:gd name="T18" fmla="*/ 1414 w 6349"/>
              <a:gd name="T19" fmla="*/ 5561 h 5575"/>
              <a:gd name="T20" fmla="*/ 1936 w 6349"/>
              <a:gd name="T21" fmla="*/ 4628 h 5575"/>
              <a:gd name="T22" fmla="*/ 1490 w 6349"/>
              <a:gd name="T23" fmla="*/ 4559 h 5575"/>
              <a:gd name="T24" fmla="*/ 118 w 6349"/>
              <a:gd name="T25" fmla="*/ 3270 h 5575"/>
              <a:gd name="T26" fmla="*/ 115 w 6349"/>
              <a:gd name="T27" fmla="*/ 1548 h 5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9" h="5575">
                <a:moveTo>
                  <a:pt x="115" y="1548"/>
                </a:moveTo>
                <a:cubicBezTo>
                  <a:pt x="211" y="957"/>
                  <a:pt x="595" y="353"/>
                  <a:pt x="1324" y="225"/>
                </a:cubicBezTo>
                <a:cubicBezTo>
                  <a:pt x="2565" y="10"/>
                  <a:pt x="3802" y="0"/>
                  <a:pt x="5039" y="228"/>
                </a:cubicBezTo>
                <a:cubicBezTo>
                  <a:pt x="5713" y="353"/>
                  <a:pt x="6086" y="792"/>
                  <a:pt x="6221" y="1445"/>
                </a:cubicBezTo>
                <a:cubicBezTo>
                  <a:pt x="6349" y="2050"/>
                  <a:pt x="6339" y="2658"/>
                  <a:pt x="6235" y="3263"/>
                </a:cubicBezTo>
                <a:cubicBezTo>
                  <a:pt x="6135" y="3847"/>
                  <a:pt x="5724" y="4438"/>
                  <a:pt x="4974" y="4531"/>
                </a:cubicBezTo>
                <a:cubicBezTo>
                  <a:pt x="4483" y="4590"/>
                  <a:pt x="3989" y="4631"/>
                  <a:pt x="3498" y="4683"/>
                </a:cubicBezTo>
                <a:cubicBezTo>
                  <a:pt x="3429" y="4690"/>
                  <a:pt x="3356" y="4707"/>
                  <a:pt x="3298" y="4745"/>
                </a:cubicBezTo>
                <a:cubicBezTo>
                  <a:pt x="3021" y="4921"/>
                  <a:pt x="2869" y="5125"/>
                  <a:pt x="2475" y="5284"/>
                </a:cubicBezTo>
                <a:cubicBezTo>
                  <a:pt x="2154" y="5423"/>
                  <a:pt x="1466" y="5575"/>
                  <a:pt x="1414" y="5561"/>
                </a:cubicBezTo>
                <a:cubicBezTo>
                  <a:pt x="1390" y="5523"/>
                  <a:pt x="1894" y="4963"/>
                  <a:pt x="1936" y="4628"/>
                </a:cubicBezTo>
                <a:cubicBezTo>
                  <a:pt x="1760" y="4600"/>
                  <a:pt x="1625" y="4579"/>
                  <a:pt x="1490" y="4559"/>
                </a:cubicBezTo>
                <a:cubicBezTo>
                  <a:pt x="719" y="4441"/>
                  <a:pt x="277" y="4013"/>
                  <a:pt x="118" y="3270"/>
                </a:cubicBezTo>
                <a:cubicBezTo>
                  <a:pt x="0" y="2665"/>
                  <a:pt x="35" y="2056"/>
                  <a:pt x="115" y="15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ysClr val="windowText" lastClr="000000"/>
              </a:solidFill>
              <a:latin typeface="Segoe UI"/>
            </a:endParaRPr>
          </a:p>
        </p:txBody>
      </p:sp>
      <p:sp>
        <p:nvSpPr>
          <p:cNvPr id="114" name="Freeform 9"/>
          <p:cNvSpPr>
            <a:spLocks noChangeAspect="1"/>
          </p:cNvSpPr>
          <p:nvPr/>
        </p:nvSpPr>
        <p:spPr bwMode="auto">
          <a:xfrm>
            <a:off x="5125675" y="2334207"/>
            <a:ext cx="231889" cy="291595"/>
          </a:xfrm>
          <a:custGeom>
            <a:avLst/>
            <a:gdLst>
              <a:gd name="T0" fmla="*/ 5153 w 5153"/>
              <a:gd name="T1" fmla="*/ 2353 h 6483"/>
              <a:gd name="T2" fmla="*/ 2799 w 5153"/>
              <a:gd name="T3" fmla="*/ 0 h 6483"/>
              <a:gd name="T4" fmla="*/ 445 w 5153"/>
              <a:gd name="T5" fmla="*/ 2353 h 6483"/>
              <a:gd name="T6" fmla="*/ 1852 w 5153"/>
              <a:gd name="T7" fmla="*/ 4507 h 6483"/>
              <a:gd name="T8" fmla="*/ 1399 w 5153"/>
              <a:gd name="T9" fmla="*/ 4932 h 6483"/>
              <a:gd name="T10" fmla="*/ 214 w 5153"/>
              <a:gd name="T11" fmla="*/ 5457 h 6483"/>
              <a:gd name="T12" fmla="*/ 41 w 5153"/>
              <a:gd name="T13" fmla="*/ 5578 h 6483"/>
              <a:gd name="T14" fmla="*/ 0 w 5153"/>
              <a:gd name="T15" fmla="*/ 6245 h 6483"/>
              <a:gd name="T16" fmla="*/ 96 w 5153"/>
              <a:gd name="T17" fmla="*/ 6276 h 6483"/>
              <a:gd name="T18" fmla="*/ 3145 w 5153"/>
              <a:gd name="T19" fmla="*/ 5637 h 6483"/>
              <a:gd name="T20" fmla="*/ 5153 w 5153"/>
              <a:gd name="T21" fmla="*/ 2353 h 6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53" h="6483">
                <a:moveTo>
                  <a:pt x="5153" y="2353"/>
                </a:moveTo>
                <a:cubicBezTo>
                  <a:pt x="5153" y="1054"/>
                  <a:pt x="4098" y="0"/>
                  <a:pt x="2799" y="0"/>
                </a:cubicBezTo>
                <a:cubicBezTo>
                  <a:pt x="1500" y="0"/>
                  <a:pt x="445" y="1054"/>
                  <a:pt x="445" y="2353"/>
                </a:cubicBezTo>
                <a:cubicBezTo>
                  <a:pt x="445" y="3314"/>
                  <a:pt x="1023" y="4144"/>
                  <a:pt x="1852" y="4507"/>
                </a:cubicBezTo>
                <a:cubicBezTo>
                  <a:pt x="1776" y="4634"/>
                  <a:pt x="1586" y="4814"/>
                  <a:pt x="1399" y="4932"/>
                </a:cubicBezTo>
                <a:cubicBezTo>
                  <a:pt x="1036" y="5167"/>
                  <a:pt x="611" y="5284"/>
                  <a:pt x="214" y="5457"/>
                </a:cubicBezTo>
                <a:cubicBezTo>
                  <a:pt x="148" y="5485"/>
                  <a:pt x="45" y="5530"/>
                  <a:pt x="41" y="5578"/>
                </a:cubicBezTo>
                <a:cubicBezTo>
                  <a:pt x="13" y="5799"/>
                  <a:pt x="10" y="6027"/>
                  <a:pt x="0" y="6245"/>
                </a:cubicBezTo>
                <a:cubicBezTo>
                  <a:pt x="48" y="6262"/>
                  <a:pt x="72" y="6273"/>
                  <a:pt x="96" y="6276"/>
                </a:cubicBezTo>
                <a:cubicBezTo>
                  <a:pt x="1213" y="6483"/>
                  <a:pt x="2229" y="6221"/>
                  <a:pt x="3145" y="5637"/>
                </a:cubicBezTo>
                <a:cubicBezTo>
                  <a:pt x="4095" y="5032"/>
                  <a:pt x="5153" y="4043"/>
                  <a:pt x="5153" y="23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ysClr val="windowText" lastClr="000000"/>
              </a:solidFill>
              <a:latin typeface="Segoe UI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376912" y="2318255"/>
            <a:ext cx="381223" cy="323499"/>
          </a:xfrm>
          <a:custGeom>
            <a:avLst/>
            <a:gdLst>
              <a:gd name="T0" fmla="*/ 5986 w 5986"/>
              <a:gd name="T1" fmla="*/ 3594 h 5985"/>
              <a:gd name="T2" fmla="*/ 5986 w 5986"/>
              <a:gd name="T3" fmla="*/ 2395 h 5985"/>
              <a:gd name="T4" fmla="*/ 5402 w 5986"/>
              <a:gd name="T5" fmla="*/ 2395 h 5985"/>
              <a:gd name="T6" fmla="*/ 5122 w 5986"/>
              <a:gd name="T7" fmla="*/ 1717 h 5985"/>
              <a:gd name="T8" fmla="*/ 5533 w 5986"/>
              <a:gd name="T9" fmla="*/ 1330 h 5985"/>
              <a:gd name="T10" fmla="*/ 4666 w 5986"/>
              <a:gd name="T11" fmla="*/ 463 h 5985"/>
              <a:gd name="T12" fmla="*/ 4282 w 5986"/>
              <a:gd name="T13" fmla="*/ 870 h 5985"/>
              <a:gd name="T14" fmla="*/ 3591 w 5986"/>
              <a:gd name="T15" fmla="*/ 584 h 5985"/>
              <a:gd name="T16" fmla="*/ 3591 w 5986"/>
              <a:gd name="T17" fmla="*/ 0 h 5985"/>
              <a:gd name="T18" fmla="*/ 2392 w 5986"/>
              <a:gd name="T19" fmla="*/ 0 h 5985"/>
              <a:gd name="T20" fmla="*/ 2392 w 5986"/>
              <a:gd name="T21" fmla="*/ 587 h 5985"/>
              <a:gd name="T22" fmla="*/ 1711 w 5986"/>
              <a:gd name="T23" fmla="*/ 870 h 5985"/>
              <a:gd name="T24" fmla="*/ 1327 w 5986"/>
              <a:gd name="T25" fmla="*/ 456 h 5985"/>
              <a:gd name="T26" fmla="*/ 453 w 5986"/>
              <a:gd name="T27" fmla="*/ 1323 h 5985"/>
              <a:gd name="T28" fmla="*/ 868 w 5986"/>
              <a:gd name="T29" fmla="*/ 1710 h 5985"/>
              <a:gd name="T30" fmla="*/ 584 w 5986"/>
              <a:gd name="T31" fmla="*/ 2395 h 5985"/>
              <a:gd name="T32" fmla="*/ 0 w 5986"/>
              <a:gd name="T33" fmla="*/ 2395 h 5985"/>
              <a:gd name="T34" fmla="*/ 0 w 5986"/>
              <a:gd name="T35" fmla="*/ 3587 h 5985"/>
              <a:gd name="T36" fmla="*/ 584 w 5986"/>
              <a:gd name="T37" fmla="*/ 3587 h 5985"/>
              <a:gd name="T38" fmla="*/ 871 w 5986"/>
              <a:gd name="T39" fmla="*/ 4275 h 5985"/>
              <a:gd name="T40" fmla="*/ 442 w 5986"/>
              <a:gd name="T41" fmla="*/ 4651 h 5985"/>
              <a:gd name="T42" fmla="*/ 1320 w 5986"/>
              <a:gd name="T43" fmla="*/ 5529 h 5985"/>
              <a:gd name="T44" fmla="*/ 1711 w 5986"/>
              <a:gd name="T45" fmla="*/ 5114 h 5985"/>
              <a:gd name="T46" fmla="*/ 2392 w 5986"/>
              <a:gd name="T47" fmla="*/ 5398 h 5985"/>
              <a:gd name="T48" fmla="*/ 2392 w 5986"/>
              <a:gd name="T49" fmla="*/ 5985 h 5985"/>
              <a:gd name="T50" fmla="*/ 3584 w 5986"/>
              <a:gd name="T51" fmla="*/ 5985 h 5985"/>
              <a:gd name="T52" fmla="*/ 3584 w 5986"/>
              <a:gd name="T53" fmla="*/ 5401 h 5985"/>
              <a:gd name="T54" fmla="*/ 4279 w 5986"/>
              <a:gd name="T55" fmla="*/ 5114 h 5985"/>
              <a:gd name="T56" fmla="*/ 4662 w 5986"/>
              <a:gd name="T57" fmla="*/ 5533 h 5985"/>
              <a:gd name="T58" fmla="*/ 5523 w 5986"/>
              <a:gd name="T59" fmla="*/ 4669 h 5985"/>
              <a:gd name="T60" fmla="*/ 5112 w 5986"/>
              <a:gd name="T61" fmla="*/ 4285 h 5985"/>
              <a:gd name="T62" fmla="*/ 5402 w 5986"/>
              <a:gd name="T63" fmla="*/ 3594 h 5985"/>
              <a:gd name="T64" fmla="*/ 5986 w 5986"/>
              <a:gd name="T65" fmla="*/ 3594 h 5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6" h="5985">
                <a:moveTo>
                  <a:pt x="5986" y="3594"/>
                </a:moveTo>
                <a:cubicBezTo>
                  <a:pt x="5986" y="3193"/>
                  <a:pt x="5986" y="2795"/>
                  <a:pt x="5986" y="2395"/>
                </a:cubicBezTo>
                <a:cubicBezTo>
                  <a:pt x="5789" y="2395"/>
                  <a:pt x="5595" y="2395"/>
                  <a:pt x="5402" y="2395"/>
                </a:cubicBezTo>
                <a:cubicBezTo>
                  <a:pt x="5343" y="2153"/>
                  <a:pt x="5246" y="1925"/>
                  <a:pt x="5122" y="1717"/>
                </a:cubicBezTo>
                <a:cubicBezTo>
                  <a:pt x="5257" y="1589"/>
                  <a:pt x="5395" y="1458"/>
                  <a:pt x="5533" y="1330"/>
                </a:cubicBezTo>
                <a:cubicBezTo>
                  <a:pt x="5232" y="1029"/>
                  <a:pt x="4956" y="753"/>
                  <a:pt x="4666" y="463"/>
                </a:cubicBezTo>
                <a:cubicBezTo>
                  <a:pt x="4541" y="597"/>
                  <a:pt x="4410" y="736"/>
                  <a:pt x="4282" y="870"/>
                </a:cubicBezTo>
                <a:cubicBezTo>
                  <a:pt x="4071" y="743"/>
                  <a:pt x="3836" y="642"/>
                  <a:pt x="3591" y="584"/>
                </a:cubicBezTo>
                <a:cubicBezTo>
                  <a:pt x="3591" y="397"/>
                  <a:pt x="3591" y="197"/>
                  <a:pt x="3591" y="0"/>
                </a:cubicBezTo>
                <a:cubicBezTo>
                  <a:pt x="3190" y="0"/>
                  <a:pt x="2793" y="0"/>
                  <a:pt x="2392" y="0"/>
                </a:cubicBezTo>
                <a:cubicBezTo>
                  <a:pt x="2392" y="197"/>
                  <a:pt x="2392" y="390"/>
                  <a:pt x="2392" y="587"/>
                </a:cubicBezTo>
                <a:cubicBezTo>
                  <a:pt x="2150" y="649"/>
                  <a:pt x="1918" y="746"/>
                  <a:pt x="1711" y="870"/>
                </a:cubicBezTo>
                <a:cubicBezTo>
                  <a:pt x="1586" y="736"/>
                  <a:pt x="1452" y="594"/>
                  <a:pt x="1327" y="456"/>
                </a:cubicBezTo>
                <a:cubicBezTo>
                  <a:pt x="1023" y="753"/>
                  <a:pt x="747" y="1029"/>
                  <a:pt x="453" y="1323"/>
                </a:cubicBezTo>
                <a:cubicBezTo>
                  <a:pt x="588" y="1451"/>
                  <a:pt x="729" y="1582"/>
                  <a:pt x="868" y="1710"/>
                </a:cubicBezTo>
                <a:cubicBezTo>
                  <a:pt x="740" y="1921"/>
                  <a:pt x="646" y="2149"/>
                  <a:pt x="584" y="2395"/>
                </a:cubicBezTo>
                <a:cubicBezTo>
                  <a:pt x="398" y="2395"/>
                  <a:pt x="201" y="2395"/>
                  <a:pt x="0" y="2395"/>
                </a:cubicBezTo>
                <a:cubicBezTo>
                  <a:pt x="0" y="2795"/>
                  <a:pt x="0" y="3183"/>
                  <a:pt x="0" y="3587"/>
                </a:cubicBezTo>
                <a:cubicBezTo>
                  <a:pt x="197" y="3587"/>
                  <a:pt x="391" y="3587"/>
                  <a:pt x="584" y="3587"/>
                </a:cubicBezTo>
                <a:cubicBezTo>
                  <a:pt x="646" y="3832"/>
                  <a:pt x="743" y="4064"/>
                  <a:pt x="871" y="4275"/>
                </a:cubicBezTo>
                <a:cubicBezTo>
                  <a:pt x="733" y="4396"/>
                  <a:pt x="584" y="4527"/>
                  <a:pt x="442" y="4651"/>
                </a:cubicBezTo>
                <a:cubicBezTo>
                  <a:pt x="750" y="4959"/>
                  <a:pt x="1027" y="5235"/>
                  <a:pt x="1320" y="5529"/>
                </a:cubicBezTo>
                <a:cubicBezTo>
                  <a:pt x="1448" y="5391"/>
                  <a:pt x="1583" y="5249"/>
                  <a:pt x="1711" y="5114"/>
                </a:cubicBezTo>
                <a:cubicBezTo>
                  <a:pt x="1918" y="5242"/>
                  <a:pt x="2150" y="5336"/>
                  <a:pt x="2392" y="5398"/>
                </a:cubicBezTo>
                <a:cubicBezTo>
                  <a:pt x="2392" y="5584"/>
                  <a:pt x="2392" y="5781"/>
                  <a:pt x="2392" y="5985"/>
                </a:cubicBezTo>
                <a:cubicBezTo>
                  <a:pt x="2793" y="5985"/>
                  <a:pt x="3180" y="5985"/>
                  <a:pt x="3584" y="5985"/>
                </a:cubicBezTo>
                <a:cubicBezTo>
                  <a:pt x="3584" y="5788"/>
                  <a:pt x="3584" y="5591"/>
                  <a:pt x="3584" y="5401"/>
                </a:cubicBezTo>
                <a:cubicBezTo>
                  <a:pt x="3833" y="5343"/>
                  <a:pt x="4064" y="5242"/>
                  <a:pt x="4279" y="5114"/>
                </a:cubicBezTo>
                <a:cubicBezTo>
                  <a:pt x="4403" y="5253"/>
                  <a:pt x="4534" y="5394"/>
                  <a:pt x="4662" y="5533"/>
                </a:cubicBezTo>
                <a:cubicBezTo>
                  <a:pt x="4956" y="5239"/>
                  <a:pt x="5232" y="4959"/>
                  <a:pt x="5523" y="4669"/>
                </a:cubicBezTo>
                <a:cubicBezTo>
                  <a:pt x="5388" y="4541"/>
                  <a:pt x="5246" y="4409"/>
                  <a:pt x="5112" y="4285"/>
                </a:cubicBezTo>
                <a:cubicBezTo>
                  <a:pt x="5239" y="4074"/>
                  <a:pt x="5340" y="3843"/>
                  <a:pt x="5402" y="3594"/>
                </a:cubicBezTo>
                <a:cubicBezTo>
                  <a:pt x="5588" y="3594"/>
                  <a:pt x="5785" y="3594"/>
                  <a:pt x="5986" y="35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ysClr val="windowText" lastClr="000000"/>
              </a:solidFill>
              <a:latin typeface="Segoe U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9757507" y="2308220"/>
            <a:ext cx="300826" cy="343570"/>
            <a:chOff x="10832823" y="3353836"/>
            <a:chExt cx="537576" cy="528488"/>
          </a:xfrm>
        </p:grpSpPr>
        <p:sp>
          <p:nvSpPr>
            <p:cNvPr id="121" name="Oval 13"/>
            <p:cNvSpPr>
              <a:spLocks noChangeArrowheads="1"/>
            </p:cNvSpPr>
            <p:nvPr/>
          </p:nvSpPr>
          <p:spPr bwMode="auto">
            <a:xfrm>
              <a:off x="10943701" y="3353836"/>
              <a:ext cx="426698" cy="42669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4" name="Freeform 14"/>
            <p:cNvSpPr>
              <a:spLocks/>
            </p:cNvSpPr>
            <p:nvPr/>
          </p:nvSpPr>
          <p:spPr bwMode="auto">
            <a:xfrm>
              <a:off x="10832823" y="3702829"/>
              <a:ext cx="179495" cy="179495"/>
            </a:xfrm>
            <a:custGeom>
              <a:avLst/>
              <a:gdLst>
                <a:gd name="T0" fmla="*/ 1224 w 1980"/>
                <a:gd name="T1" fmla="*/ 0 h 1977"/>
                <a:gd name="T2" fmla="*/ 218 w 1980"/>
                <a:gd name="T3" fmla="*/ 985 h 1977"/>
                <a:gd name="T4" fmla="*/ 211 w 1980"/>
                <a:gd name="T5" fmla="*/ 1752 h 1977"/>
                <a:gd name="T6" fmla="*/ 218 w 1980"/>
                <a:gd name="T7" fmla="*/ 1759 h 1977"/>
                <a:gd name="T8" fmla="*/ 985 w 1980"/>
                <a:gd name="T9" fmla="*/ 1766 h 1977"/>
                <a:gd name="T10" fmla="*/ 1980 w 1980"/>
                <a:gd name="T11" fmla="*/ 788 h 1977"/>
                <a:gd name="T12" fmla="*/ 1224 w 1980"/>
                <a:gd name="T13" fmla="*/ 0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0" h="1977">
                  <a:moveTo>
                    <a:pt x="1224" y="0"/>
                  </a:moveTo>
                  <a:cubicBezTo>
                    <a:pt x="218" y="985"/>
                    <a:pt x="218" y="985"/>
                    <a:pt x="218" y="985"/>
                  </a:cubicBezTo>
                  <a:cubicBezTo>
                    <a:pt x="4" y="1196"/>
                    <a:pt x="0" y="1538"/>
                    <a:pt x="211" y="1752"/>
                  </a:cubicBezTo>
                  <a:cubicBezTo>
                    <a:pt x="218" y="1759"/>
                    <a:pt x="218" y="1759"/>
                    <a:pt x="218" y="1759"/>
                  </a:cubicBezTo>
                  <a:cubicBezTo>
                    <a:pt x="429" y="1974"/>
                    <a:pt x="771" y="1977"/>
                    <a:pt x="985" y="1766"/>
                  </a:cubicBezTo>
                  <a:cubicBezTo>
                    <a:pt x="1980" y="788"/>
                    <a:pt x="1980" y="788"/>
                    <a:pt x="1980" y="788"/>
                  </a:cubicBezTo>
                  <a:cubicBezTo>
                    <a:pt x="1683" y="581"/>
                    <a:pt x="1424" y="315"/>
                    <a:pt x="12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69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353592"/>
              </p:ext>
            </p:extLst>
          </p:nvPr>
        </p:nvGraphicFramePr>
        <p:xfrm>
          <a:off x="1668367" y="2121222"/>
          <a:ext cx="8963143" cy="1406443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531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27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38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3131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Duration of Audio</a:t>
                      </a:r>
                    </a:p>
                  </a:txBody>
                  <a:tcPr marL="78777" marR="78777" marT="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&lt; 15 seconds</a:t>
                      </a:r>
                    </a:p>
                  </a:txBody>
                  <a:tcPr marL="274067" marR="78777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&lt; 2 minutes</a:t>
                      </a:r>
                    </a:p>
                  </a:txBody>
                  <a:tcPr marL="182711" marR="78777" marT="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6656">
                <a:tc>
                  <a:txBody>
                    <a:bodyPr/>
                    <a:lstStyle/>
                    <a:p>
                      <a:pPr algn="r"/>
                      <a:r>
                        <a:rPr lang="en-US" sz="1600" b="0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Final Result</a:t>
                      </a:r>
                    </a:p>
                  </a:txBody>
                  <a:tcPr marL="78777" marR="78777" marT="0" marB="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n-best choice</a:t>
                      </a:r>
                    </a:p>
                  </a:txBody>
                  <a:tcPr marL="274067" marR="78777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gradFill>
                            <a:gsLst>
                              <a:gs pos="1250">
                                <a:schemeClr val="bg1"/>
                              </a:gs>
                              <a:gs pos="100000">
                                <a:schemeClr val="bg1"/>
                              </a:gs>
                            </a:gsLst>
                            <a:lin ang="5400000" scaled="0"/>
                          </a:gradFill>
                        </a:rPr>
                        <a:t>Best choice, delivered at sentence pauses</a:t>
                      </a:r>
                    </a:p>
                  </a:txBody>
                  <a:tcPr marL="182711" marR="78777" marT="0" marB="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6656">
                <a:tc>
                  <a:txBody>
                    <a:bodyPr/>
                    <a:lstStyle/>
                    <a:p>
                      <a:pPr algn="r"/>
                      <a:endParaRPr lang="en-US" sz="1600" b="0" dirty="0">
                        <a:gradFill>
                          <a:gsLst>
                            <a:gs pos="1250">
                              <a:schemeClr val="bg1"/>
                            </a:gs>
                            <a:gs pos="100000">
                              <a:schemeClr val="bg1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78777" marR="78777" marT="0" marB="0" anchor="ctr">
                    <a:lnL w="12700" cmpd="sng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dirty="0">
                        <a:gradFill>
                          <a:gsLst>
                            <a:gs pos="1250">
                              <a:schemeClr val="bg1"/>
                            </a:gs>
                            <a:gs pos="100000">
                              <a:schemeClr val="bg1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274067" marR="78777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dirty="0">
                        <a:gradFill>
                          <a:gsLst>
                            <a:gs pos="1250">
                              <a:schemeClr val="bg1"/>
                            </a:gs>
                            <a:gs pos="100000">
                              <a:schemeClr val="bg1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182711" marR="78777" marT="0" marB="0" anchor="ctr">
                    <a:lnL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5617" y="4118951"/>
            <a:ext cx="12771509" cy="2740673"/>
            <a:chOff x="0" y="3954463"/>
            <a:chExt cx="12783288" cy="27432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954463"/>
              <a:ext cx="12197623" cy="27432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  <p:sp>
          <p:nvSpPr>
            <p:cNvPr id="9" name="TextBox 7"/>
            <p:cNvSpPr txBox="1"/>
            <p:nvPr/>
          </p:nvSpPr>
          <p:spPr>
            <a:xfrm>
              <a:off x="5433163" y="4353414"/>
              <a:ext cx="7350125" cy="1779752"/>
            </a:xfrm>
            <a:prstGeom prst="rect">
              <a:avLst/>
            </a:prstGeom>
            <a:noFill/>
          </p:spPr>
          <p:txBody>
            <a:bodyPr wrap="squar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********* Final N-BEST Results *********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Segoe UI" panose="020B0502040204020203" pitchFamily="34" charset="0"/>
                </a:rPr>
                <a:t>[0] Confidence=Normal Text="450 six St San Francisco."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Segoe UI" panose="020B0502040204020203" pitchFamily="34" charset="0"/>
                </a:rPr>
                <a:t>[1] Confidence=Normal Text="For 50 six St San Francisco."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Segoe UI" panose="020B0502040204020203" pitchFamily="34" charset="0"/>
                </a:rPr>
                <a:t>[2] Confidence=Normal Text="456th St San Francisco."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Segoe UI" panose="020B0502040204020203" pitchFamily="34" charset="0"/>
                </a:rPr>
                <a:t>[3] Confidence=Normal Text="450 six St in San Francisco."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Segoe UI" panose="020B0502040204020203" pitchFamily="34" charset="0"/>
                </a:rPr>
                <a:t>[4] Confidence=Normal Text="456 St San Francisco."</a:t>
              </a:r>
            </a:p>
          </p:txBody>
        </p:sp>
      </p:grpSp>
      <p:sp>
        <p:nvSpPr>
          <p:cNvPr id="14" name="Chevron 13"/>
          <p:cNvSpPr/>
          <p:nvPr/>
        </p:nvSpPr>
        <p:spPr bwMode="auto">
          <a:xfrm>
            <a:off x="4227089" y="4118951"/>
            <a:ext cx="1370336" cy="2740673"/>
          </a:xfrm>
          <a:prstGeom prst="chevron">
            <a:avLst>
              <a:gd name="adj" fmla="val 42593"/>
            </a:avLst>
          </a:prstGeom>
          <a:solidFill>
            <a:srgbClr val="D7D7D7"/>
          </a:solidFill>
          <a:ln w="9525" cap="flat" cmpd="sng" algn="ctr">
            <a:noFill/>
            <a:prstDash val="solid"/>
          </a:ln>
          <a:effectLst/>
        </p:spPr>
        <p:txBody>
          <a:bodyPr lIns="121613" tIns="60806" rIns="121613" bIns="60806" rtlCol="0" anchor="ctr"/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668367" y="1638527"/>
            <a:ext cx="8963143" cy="405950"/>
            <a:chOff x="2597131" y="1599624"/>
            <a:chExt cx="8971409" cy="406323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2597131" y="2005947"/>
              <a:ext cx="8971409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5297633" y="1599624"/>
              <a:ext cx="1402483" cy="3983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hort form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319006" y="1599624"/>
              <a:ext cx="1361613" cy="3983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ong form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616" y="4118951"/>
            <a:ext cx="5146691" cy="2740673"/>
            <a:chOff x="-1" y="3954463"/>
            <a:chExt cx="5151437" cy="2743200"/>
          </a:xfrm>
        </p:grpSpPr>
        <p:grpSp>
          <p:nvGrpSpPr>
            <p:cNvPr id="20" name="Group 19"/>
            <p:cNvGrpSpPr/>
            <p:nvPr/>
          </p:nvGrpSpPr>
          <p:grpSpPr>
            <a:xfrm>
              <a:off x="-1" y="3954463"/>
              <a:ext cx="5151437" cy="2743200"/>
              <a:chOff x="-1" y="3954463"/>
              <a:chExt cx="5151437" cy="2743200"/>
            </a:xfrm>
          </p:grpSpPr>
          <p:sp>
            <p:nvSpPr>
              <p:cNvPr id="22" name="Pentagon 21"/>
              <p:cNvSpPr/>
              <p:nvPr/>
            </p:nvSpPr>
            <p:spPr bwMode="auto">
              <a:xfrm>
                <a:off x="-1" y="3954463"/>
                <a:ext cx="5151437" cy="2743200"/>
              </a:xfrm>
              <a:prstGeom prst="homePlate">
                <a:avLst>
                  <a:gd name="adj" fmla="val 22388"/>
                </a:avLst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1356" tIns="91356" rIns="34263" bIns="34263" rtlCol="0" anchor="b" anchorCtr="0"/>
              <a:lstStyle/>
              <a:p>
                <a:pPr marL="0" marR="0" lvl="0" indent="0" algn="ctr" defTabSz="9314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" name="Oval Callout 6"/>
              <p:cNvSpPr/>
              <p:nvPr/>
            </p:nvSpPr>
            <p:spPr bwMode="auto">
              <a:xfrm>
                <a:off x="1570037" y="4299347"/>
                <a:ext cx="2609563" cy="1139032"/>
              </a:xfrm>
              <a:prstGeom prst="wedgeEllipseCallout">
                <a:avLst>
                  <a:gd name="adj1" fmla="val -44310"/>
                  <a:gd name="adj2" fmla="val 50709"/>
                </a:avLst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31477" eaLnBrk="1" fontAlgn="auto" latinLnBrk="0" hangingPunct="1">
                  <a:lnSpc>
                    <a:spcPts val="2398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39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450 6</a:t>
                </a:r>
                <a:r>
                  <a:rPr kumimoji="0" lang="en-US" sz="2398" b="0" i="0" u="none" strike="noStrike" kern="0" cap="none" spc="0" normalizeH="0" baseline="30000" noProof="0" dirty="0">
                    <a:ln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th</a:t>
                </a:r>
                <a:r>
                  <a:rPr kumimoji="0" lang="en-US" sz="239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St. </a:t>
                </a:r>
                <a:br>
                  <a:rPr kumimoji="0" lang="en-US" sz="239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en-US" sz="239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San Francisco</a:t>
                </a:r>
              </a:p>
            </p:txBody>
          </p:sp>
        </p:grpSp>
        <p:sp>
          <p:nvSpPr>
            <p:cNvPr id="21" name="Freeform 20"/>
            <p:cNvSpPr>
              <a:spLocks noChangeAspect="1"/>
            </p:cNvSpPr>
            <p:nvPr/>
          </p:nvSpPr>
          <p:spPr bwMode="auto">
            <a:xfrm>
              <a:off x="274638" y="5024631"/>
              <a:ext cx="1593244" cy="1673032"/>
            </a:xfrm>
            <a:custGeom>
              <a:avLst/>
              <a:gdLst>
                <a:gd name="T0" fmla="*/ 26 w 997"/>
                <a:gd name="T1" fmla="*/ 1048 h 1048"/>
                <a:gd name="T2" fmla="*/ 123 w 997"/>
                <a:gd name="T3" fmla="*/ 725 h 1048"/>
                <a:gd name="T4" fmla="*/ 272 w 997"/>
                <a:gd name="T5" fmla="*/ 673 h 1048"/>
                <a:gd name="T6" fmla="*/ 382 w 997"/>
                <a:gd name="T7" fmla="*/ 621 h 1048"/>
                <a:gd name="T8" fmla="*/ 395 w 997"/>
                <a:gd name="T9" fmla="*/ 537 h 1048"/>
                <a:gd name="T10" fmla="*/ 343 w 997"/>
                <a:gd name="T11" fmla="*/ 408 h 1048"/>
                <a:gd name="T12" fmla="*/ 311 w 997"/>
                <a:gd name="T13" fmla="*/ 356 h 1048"/>
                <a:gd name="T14" fmla="*/ 324 w 997"/>
                <a:gd name="T15" fmla="*/ 278 h 1048"/>
                <a:gd name="T16" fmla="*/ 317 w 997"/>
                <a:gd name="T17" fmla="*/ 233 h 1048"/>
                <a:gd name="T18" fmla="*/ 376 w 997"/>
                <a:gd name="T19" fmla="*/ 84 h 1048"/>
                <a:gd name="T20" fmla="*/ 460 w 997"/>
                <a:gd name="T21" fmla="*/ 26 h 1048"/>
                <a:gd name="T22" fmla="*/ 453 w 997"/>
                <a:gd name="T23" fmla="*/ 58 h 1048"/>
                <a:gd name="T24" fmla="*/ 512 w 997"/>
                <a:gd name="T25" fmla="*/ 0 h 1048"/>
                <a:gd name="T26" fmla="*/ 512 w 997"/>
                <a:gd name="T27" fmla="*/ 13 h 1048"/>
                <a:gd name="T28" fmla="*/ 518 w 997"/>
                <a:gd name="T29" fmla="*/ 46 h 1048"/>
                <a:gd name="T30" fmla="*/ 518 w 997"/>
                <a:gd name="T31" fmla="*/ 46 h 1048"/>
                <a:gd name="T32" fmla="*/ 518 w 997"/>
                <a:gd name="T33" fmla="*/ 33 h 1048"/>
                <a:gd name="T34" fmla="*/ 563 w 997"/>
                <a:gd name="T35" fmla="*/ 46 h 1048"/>
                <a:gd name="T36" fmla="*/ 622 w 997"/>
                <a:gd name="T37" fmla="*/ 84 h 1048"/>
                <a:gd name="T38" fmla="*/ 680 w 997"/>
                <a:gd name="T39" fmla="*/ 220 h 1048"/>
                <a:gd name="T40" fmla="*/ 680 w 997"/>
                <a:gd name="T41" fmla="*/ 278 h 1048"/>
                <a:gd name="T42" fmla="*/ 699 w 997"/>
                <a:gd name="T43" fmla="*/ 356 h 1048"/>
                <a:gd name="T44" fmla="*/ 674 w 997"/>
                <a:gd name="T45" fmla="*/ 395 h 1048"/>
                <a:gd name="T46" fmla="*/ 602 w 997"/>
                <a:gd name="T47" fmla="*/ 537 h 1048"/>
                <a:gd name="T48" fmla="*/ 615 w 997"/>
                <a:gd name="T49" fmla="*/ 621 h 1048"/>
                <a:gd name="T50" fmla="*/ 615 w 997"/>
                <a:gd name="T51" fmla="*/ 621 h 1048"/>
                <a:gd name="T52" fmla="*/ 725 w 997"/>
                <a:gd name="T53" fmla="*/ 673 h 1048"/>
                <a:gd name="T54" fmla="*/ 874 w 997"/>
                <a:gd name="T55" fmla="*/ 725 h 1048"/>
                <a:gd name="T56" fmla="*/ 971 w 997"/>
                <a:gd name="T57" fmla="*/ 1048 h 1048"/>
                <a:gd name="T58" fmla="*/ 26 w 997"/>
                <a:gd name="T59" fmla="*/ 1048 h 1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97" h="1048">
                  <a:moveTo>
                    <a:pt x="26" y="1048"/>
                  </a:moveTo>
                  <a:cubicBezTo>
                    <a:pt x="26" y="1048"/>
                    <a:pt x="0" y="789"/>
                    <a:pt x="123" y="725"/>
                  </a:cubicBezTo>
                  <a:cubicBezTo>
                    <a:pt x="201" y="686"/>
                    <a:pt x="175" y="712"/>
                    <a:pt x="272" y="673"/>
                  </a:cubicBezTo>
                  <a:cubicBezTo>
                    <a:pt x="337" y="641"/>
                    <a:pt x="369" y="621"/>
                    <a:pt x="382" y="621"/>
                  </a:cubicBezTo>
                  <a:cubicBezTo>
                    <a:pt x="382" y="608"/>
                    <a:pt x="395" y="537"/>
                    <a:pt x="395" y="537"/>
                  </a:cubicBezTo>
                  <a:cubicBezTo>
                    <a:pt x="395" y="537"/>
                    <a:pt x="356" y="485"/>
                    <a:pt x="343" y="408"/>
                  </a:cubicBezTo>
                  <a:cubicBezTo>
                    <a:pt x="343" y="408"/>
                    <a:pt x="311" y="414"/>
                    <a:pt x="311" y="356"/>
                  </a:cubicBezTo>
                  <a:cubicBezTo>
                    <a:pt x="311" y="311"/>
                    <a:pt x="291" y="291"/>
                    <a:pt x="324" y="278"/>
                  </a:cubicBezTo>
                  <a:cubicBezTo>
                    <a:pt x="324" y="278"/>
                    <a:pt x="317" y="259"/>
                    <a:pt x="317" y="233"/>
                  </a:cubicBezTo>
                  <a:cubicBezTo>
                    <a:pt x="317" y="194"/>
                    <a:pt x="304" y="130"/>
                    <a:pt x="376" y="84"/>
                  </a:cubicBezTo>
                  <a:cubicBezTo>
                    <a:pt x="453" y="33"/>
                    <a:pt x="460" y="26"/>
                    <a:pt x="460" y="26"/>
                  </a:cubicBezTo>
                  <a:cubicBezTo>
                    <a:pt x="460" y="26"/>
                    <a:pt x="460" y="26"/>
                    <a:pt x="453" y="58"/>
                  </a:cubicBezTo>
                  <a:cubicBezTo>
                    <a:pt x="453" y="58"/>
                    <a:pt x="479" y="26"/>
                    <a:pt x="512" y="0"/>
                  </a:cubicBezTo>
                  <a:cubicBezTo>
                    <a:pt x="512" y="0"/>
                    <a:pt x="512" y="0"/>
                    <a:pt x="512" y="13"/>
                  </a:cubicBezTo>
                  <a:cubicBezTo>
                    <a:pt x="512" y="20"/>
                    <a:pt x="512" y="39"/>
                    <a:pt x="518" y="46"/>
                  </a:cubicBezTo>
                  <a:cubicBezTo>
                    <a:pt x="518" y="46"/>
                    <a:pt x="518" y="46"/>
                    <a:pt x="518" y="46"/>
                  </a:cubicBezTo>
                  <a:cubicBezTo>
                    <a:pt x="518" y="46"/>
                    <a:pt x="518" y="46"/>
                    <a:pt x="518" y="33"/>
                  </a:cubicBezTo>
                  <a:cubicBezTo>
                    <a:pt x="518" y="33"/>
                    <a:pt x="544" y="39"/>
                    <a:pt x="563" y="46"/>
                  </a:cubicBezTo>
                  <a:cubicBezTo>
                    <a:pt x="563" y="46"/>
                    <a:pt x="609" y="78"/>
                    <a:pt x="622" y="84"/>
                  </a:cubicBezTo>
                  <a:cubicBezTo>
                    <a:pt x="693" y="130"/>
                    <a:pt x="680" y="181"/>
                    <a:pt x="680" y="220"/>
                  </a:cubicBezTo>
                  <a:cubicBezTo>
                    <a:pt x="680" y="253"/>
                    <a:pt x="680" y="278"/>
                    <a:pt x="680" y="278"/>
                  </a:cubicBezTo>
                  <a:cubicBezTo>
                    <a:pt x="706" y="291"/>
                    <a:pt x="699" y="311"/>
                    <a:pt x="699" y="356"/>
                  </a:cubicBezTo>
                  <a:cubicBezTo>
                    <a:pt x="699" y="414"/>
                    <a:pt x="674" y="395"/>
                    <a:pt x="674" y="395"/>
                  </a:cubicBezTo>
                  <a:cubicBezTo>
                    <a:pt x="661" y="492"/>
                    <a:pt x="602" y="537"/>
                    <a:pt x="602" y="537"/>
                  </a:cubicBezTo>
                  <a:cubicBezTo>
                    <a:pt x="602" y="537"/>
                    <a:pt x="615" y="608"/>
                    <a:pt x="615" y="621"/>
                  </a:cubicBezTo>
                  <a:cubicBezTo>
                    <a:pt x="615" y="621"/>
                    <a:pt x="615" y="621"/>
                    <a:pt x="615" y="621"/>
                  </a:cubicBezTo>
                  <a:cubicBezTo>
                    <a:pt x="628" y="621"/>
                    <a:pt x="661" y="641"/>
                    <a:pt x="725" y="673"/>
                  </a:cubicBezTo>
                  <a:cubicBezTo>
                    <a:pt x="822" y="712"/>
                    <a:pt x="797" y="686"/>
                    <a:pt x="874" y="725"/>
                  </a:cubicBezTo>
                  <a:cubicBezTo>
                    <a:pt x="997" y="789"/>
                    <a:pt x="971" y="1048"/>
                    <a:pt x="971" y="1048"/>
                  </a:cubicBezTo>
                  <a:lnTo>
                    <a:pt x="26" y="10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91345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7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222078" y="472375"/>
            <a:ext cx="781750" cy="594960"/>
            <a:chOff x="4543910" y="2378075"/>
            <a:chExt cx="1076325" cy="819150"/>
          </a:xfrm>
        </p:grpSpPr>
        <p:sp>
          <p:nvSpPr>
            <p:cNvPr id="29" name="Freeform 5"/>
            <p:cNvSpPr>
              <a:spLocks/>
            </p:cNvSpPr>
            <p:nvPr/>
          </p:nvSpPr>
          <p:spPr bwMode="auto">
            <a:xfrm>
              <a:off x="4543910" y="2378075"/>
              <a:ext cx="1076325" cy="819150"/>
            </a:xfrm>
            <a:custGeom>
              <a:avLst/>
              <a:gdLst>
                <a:gd name="T0" fmla="*/ 538 w 702"/>
                <a:gd name="T1" fmla="*/ 12 h 534"/>
                <a:gd name="T2" fmla="*/ 184 w 702"/>
                <a:gd name="T3" fmla="*/ 13 h 534"/>
                <a:gd name="T4" fmla="*/ 0 w 702"/>
                <a:gd name="T5" fmla="*/ 180 h 534"/>
                <a:gd name="T6" fmla="*/ 0 w 702"/>
                <a:gd name="T7" fmla="*/ 267 h 534"/>
                <a:gd name="T8" fmla="*/ 156 w 702"/>
                <a:gd name="T9" fmla="*/ 439 h 534"/>
                <a:gd name="T10" fmla="*/ 209 w 702"/>
                <a:gd name="T11" fmla="*/ 443 h 534"/>
                <a:gd name="T12" fmla="*/ 209 w 702"/>
                <a:gd name="T13" fmla="*/ 443 h 534"/>
                <a:gd name="T14" fmla="*/ 151 w 702"/>
                <a:gd name="T15" fmla="*/ 531 h 534"/>
                <a:gd name="T16" fmla="*/ 262 w 702"/>
                <a:gd name="T17" fmla="*/ 510 h 534"/>
                <a:gd name="T18" fmla="*/ 335 w 702"/>
                <a:gd name="T19" fmla="*/ 473 h 534"/>
                <a:gd name="T20" fmla="*/ 394 w 702"/>
                <a:gd name="T21" fmla="*/ 448 h 534"/>
                <a:gd name="T22" fmla="*/ 394 w 702"/>
                <a:gd name="T23" fmla="*/ 448 h 534"/>
                <a:gd name="T24" fmla="*/ 408 w 702"/>
                <a:gd name="T25" fmla="*/ 448 h 534"/>
                <a:gd name="T26" fmla="*/ 542 w 702"/>
                <a:gd name="T27" fmla="*/ 439 h 534"/>
                <a:gd name="T28" fmla="*/ 702 w 702"/>
                <a:gd name="T29" fmla="*/ 267 h 534"/>
                <a:gd name="T30" fmla="*/ 702 w 702"/>
                <a:gd name="T31" fmla="*/ 180 h 534"/>
                <a:gd name="T32" fmla="*/ 538 w 702"/>
                <a:gd name="T33" fmla="*/ 1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2" h="534">
                  <a:moveTo>
                    <a:pt x="538" y="12"/>
                  </a:moveTo>
                  <a:cubicBezTo>
                    <a:pt x="449" y="0"/>
                    <a:pt x="272" y="2"/>
                    <a:pt x="184" y="13"/>
                  </a:cubicBezTo>
                  <a:cubicBezTo>
                    <a:pt x="96" y="23"/>
                    <a:pt x="0" y="72"/>
                    <a:pt x="0" y="18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372"/>
                    <a:pt x="88" y="430"/>
                    <a:pt x="156" y="439"/>
                  </a:cubicBezTo>
                  <a:cubicBezTo>
                    <a:pt x="169" y="440"/>
                    <a:pt x="187" y="442"/>
                    <a:pt x="209" y="443"/>
                  </a:cubicBezTo>
                  <a:cubicBezTo>
                    <a:pt x="209" y="443"/>
                    <a:pt x="209" y="443"/>
                    <a:pt x="209" y="443"/>
                  </a:cubicBezTo>
                  <a:cubicBezTo>
                    <a:pt x="209" y="443"/>
                    <a:pt x="220" y="459"/>
                    <a:pt x="151" y="531"/>
                  </a:cubicBezTo>
                  <a:cubicBezTo>
                    <a:pt x="148" y="534"/>
                    <a:pt x="215" y="526"/>
                    <a:pt x="262" y="510"/>
                  </a:cubicBezTo>
                  <a:cubicBezTo>
                    <a:pt x="309" y="494"/>
                    <a:pt x="307" y="490"/>
                    <a:pt x="335" y="473"/>
                  </a:cubicBezTo>
                  <a:cubicBezTo>
                    <a:pt x="363" y="456"/>
                    <a:pt x="356" y="456"/>
                    <a:pt x="394" y="448"/>
                  </a:cubicBezTo>
                  <a:cubicBezTo>
                    <a:pt x="394" y="448"/>
                    <a:pt x="394" y="448"/>
                    <a:pt x="394" y="448"/>
                  </a:cubicBezTo>
                  <a:cubicBezTo>
                    <a:pt x="399" y="448"/>
                    <a:pt x="403" y="448"/>
                    <a:pt x="408" y="448"/>
                  </a:cubicBezTo>
                  <a:cubicBezTo>
                    <a:pt x="458" y="447"/>
                    <a:pt x="506" y="444"/>
                    <a:pt x="542" y="439"/>
                  </a:cubicBezTo>
                  <a:cubicBezTo>
                    <a:pt x="645" y="423"/>
                    <a:pt x="702" y="361"/>
                    <a:pt x="702" y="267"/>
                  </a:cubicBezTo>
                  <a:cubicBezTo>
                    <a:pt x="702" y="180"/>
                    <a:pt x="702" y="180"/>
                    <a:pt x="702" y="180"/>
                  </a:cubicBezTo>
                  <a:cubicBezTo>
                    <a:pt x="702" y="85"/>
                    <a:pt x="628" y="24"/>
                    <a:pt x="538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4710706" y="2492027"/>
              <a:ext cx="747713" cy="449263"/>
            </a:xfrm>
            <a:custGeom>
              <a:avLst/>
              <a:gdLst>
                <a:gd name="T0" fmla="*/ 379 w 488"/>
                <a:gd name="T1" fmla="*/ 282 h 293"/>
                <a:gd name="T2" fmla="*/ 109 w 488"/>
                <a:gd name="T3" fmla="*/ 282 h 293"/>
                <a:gd name="T4" fmla="*/ 0 w 488"/>
                <a:gd name="T5" fmla="*/ 171 h 293"/>
                <a:gd name="T6" fmla="*/ 0 w 488"/>
                <a:gd name="T7" fmla="*/ 116 h 293"/>
                <a:gd name="T8" fmla="*/ 129 w 488"/>
                <a:gd name="T9" fmla="*/ 7 h 293"/>
                <a:gd name="T10" fmla="*/ 377 w 488"/>
                <a:gd name="T11" fmla="*/ 7 h 293"/>
                <a:gd name="T12" fmla="*/ 488 w 488"/>
                <a:gd name="T13" fmla="*/ 116 h 293"/>
                <a:gd name="T14" fmla="*/ 488 w 488"/>
                <a:gd name="T15" fmla="*/ 171 h 293"/>
                <a:gd name="T16" fmla="*/ 379 w 488"/>
                <a:gd name="T17" fmla="*/ 28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93">
                  <a:moveTo>
                    <a:pt x="379" y="282"/>
                  </a:moveTo>
                  <a:cubicBezTo>
                    <a:pt x="306" y="293"/>
                    <a:pt x="157" y="288"/>
                    <a:pt x="109" y="282"/>
                  </a:cubicBezTo>
                  <a:cubicBezTo>
                    <a:pt x="62" y="277"/>
                    <a:pt x="0" y="233"/>
                    <a:pt x="0" y="17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55"/>
                    <a:pt x="67" y="14"/>
                    <a:pt x="129" y="7"/>
                  </a:cubicBezTo>
                  <a:cubicBezTo>
                    <a:pt x="190" y="1"/>
                    <a:pt x="314" y="0"/>
                    <a:pt x="377" y="7"/>
                  </a:cubicBezTo>
                  <a:cubicBezTo>
                    <a:pt x="439" y="15"/>
                    <a:pt x="488" y="55"/>
                    <a:pt x="488" y="116"/>
                  </a:cubicBezTo>
                  <a:cubicBezTo>
                    <a:pt x="488" y="171"/>
                    <a:pt x="488" y="171"/>
                    <a:pt x="488" y="171"/>
                  </a:cubicBezTo>
                  <a:cubicBezTo>
                    <a:pt x="488" y="233"/>
                    <a:pt x="451" y="272"/>
                    <a:pt x="379" y="2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7"/>
            <p:cNvSpPr>
              <a:spLocks noChangeArrowheads="1"/>
            </p:cNvSpPr>
            <p:nvPr/>
          </p:nvSpPr>
          <p:spPr bwMode="auto">
            <a:xfrm>
              <a:off x="521553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Oval 8"/>
            <p:cNvSpPr>
              <a:spLocks noChangeArrowheads="1"/>
            </p:cNvSpPr>
            <p:nvPr/>
          </p:nvSpPr>
          <p:spPr bwMode="auto">
            <a:xfrm>
              <a:off x="504408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Oval 9"/>
            <p:cNvSpPr>
              <a:spLocks noChangeArrowheads="1"/>
            </p:cNvSpPr>
            <p:nvPr/>
          </p:nvSpPr>
          <p:spPr bwMode="auto">
            <a:xfrm>
              <a:off x="4871043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oice recognition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4281957" y="1671303"/>
            <a:ext cx="0" cy="1772757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6219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7157E-6 -5.40172E-7 L -1.07157E-6 0.00023 " pathEditMode="relative" rAng="0" ptsTypes="AA">
                                      <p:cBhvr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2493160" y="1276709"/>
            <a:ext cx="9937474" cy="489490"/>
            <a:chOff x="2489836" y="1274724"/>
            <a:chExt cx="9946638" cy="489942"/>
          </a:xfrm>
          <a:solidFill>
            <a:schemeClr val="accent2"/>
          </a:solidFill>
        </p:grpSpPr>
        <p:sp>
          <p:nvSpPr>
            <p:cNvPr id="11" name="Rectangle 34"/>
            <p:cNvSpPr/>
            <p:nvPr/>
          </p:nvSpPr>
          <p:spPr>
            <a:xfrm>
              <a:off x="2489836" y="1274724"/>
              <a:ext cx="9946638" cy="489942"/>
            </a:xfrm>
            <a:custGeom>
              <a:avLst/>
              <a:gdLst>
                <a:gd name="connsiteX0" fmla="*/ 0 w 9975213"/>
                <a:gd name="connsiteY0" fmla="*/ 0 h 489942"/>
                <a:gd name="connsiteX1" fmla="*/ 9975213 w 9975213"/>
                <a:gd name="connsiteY1" fmla="*/ 0 h 489942"/>
                <a:gd name="connsiteX2" fmla="*/ 9975213 w 9975213"/>
                <a:gd name="connsiteY2" fmla="*/ 489942 h 489942"/>
                <a:gd name="connsiteX3" fmla="*/ 0 w 9975213"/>
                <a:gd name="connsiteY3" fmla="*/ 489942 h 489942"/>
                <a:gd name="connsiteX4" fmla="*/ 0 w 9975213"/>
                <a:gd name="connsiteY4" fmla="*/ 0 h 489942"/>
                <a:gd name="connsiteX0" fmla="*/ 238125 w 9975213"/>
                <a:gd name="connsiteY0" fmla="*/ 0 h 489942"/>
                <a:gd name="connsiteX1" fmla="*/ 9975213 w 9975213"/>
                <a:gd name="connsiteY1" fmla="*/ 0 h 489942"/>
                <a:gd name="connsiteX2" fmla="*/ 9975213 w 9975213"/>
                <a:gd name="connsiteY2" fmla="*/ 489942 h 489942"/>
                <a:gd name="connsiteX3" fmla="*/ 0 w 9975213"/>
                <a:gd name="connsiteY3" fmla="*/ 489942 h 489942"/>
                <a:gd name="connsiteX4" fmla="*/ 238125 w 9975213"/>
                <a:gd name="connsiteY4" fmla="*/ 0 h 489942"/>
                <a:gd name="connsiteX0" fmla="*/ 209550 w 9946638"/>
                <a:gd name="connsiteY0" fmla="*/ 0 h 489942"/>
                <a:gd name="connsiteX1" fmla="*/ 9946638 w 9946638"/>
                <a:gd name="connsiteY1" fmla="*/ 0 h 489942"/>
                <a:gd name="connsiteX2" fmla="*/ 9946638 w 9946638"/>
                <a:gd name="connsiteY2" fmla="*/ 489942 h 489942"/>
                <a:gd name="connsiteX3" fmla="*/ 0 w 9946638"/>
                <a:gd name="connsiteY3" fmla="*/ 489942 h 489942"/>
                <a:gd name="connsiteX4" fmla="*/ 209550 w 9946638"/>
                <a:gd name="connsiteY4" fmla="*/ 0 h 48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6638" h="489942">
                  <a:moveTo>
                    <a:pt x="209550" y="0"/>
                  </a:moveTo>
                  <a:lnTo>
                    <a:pt x="9946638" y="0"/>
                  </a:lnTo>
                  <a:lnTo>
                    <a:pt x="9946638" y="489942"/>
                  </a:lnTo>
                  <a:lnTo>
                    <a:pt x="0" y="489942"/>
                  </a:lnTo>
                  <a:lnTo>
                    <a:pt x="209550" y="0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121613" tIns="60806" rIns="121613" bIns="60806" rtlCol="0" anchor="ctr"/>
            <a:lstStyle/>
            <a:p>
              <a:pPr marL="0" marR="0" lvl="0" indent="0" algn="ctr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9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031542" y="1338133"/>
              <a:ext cx="1103344" cy="37490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REST API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594271" y="1338133"/>
              <a:ext cx="1468504" cy="36758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Client library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168545" y="1848090"/>
            <a:ext cx="10262087" cy="648200"/>
            <a:chOff x="2164924" y="1846632"/>
            <a:chExt cx="10271550" cy="648798"/>
          </a:xfrm>
        </p:grpSpPr>
        <p:grpSp>
          <p:nvGrpSpPr>
            <p:cNvPr id="15" name="Group 14"/>
            <p:cNvGrpSpPr/>
            <p:nvPr/>
          </p:nvGrpSpPr>
          <p:grpSpPr>
            <a:xfrm>
              <a:off x="2164924" y="1846632"/>
              <a:ext cx="10271550" cy="648798"/>
              <a:chOff x="2851090" y="1779503"/>
              <a:chExt cx="12402869" cy="783422"/>
            </a:xfrm>
          </p:grpSpPr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2947310" y="1779503"/>
                <a:ext cx="12306649" cy="783422"/>
              </a:xfrm>
              <a:custGeom>
                <a:avLst/>
                <a:gdLst>
                  <a:gd name="connsiteX0" fmla="*/ 339354 w 9489162"/>
                  <a:gd name="connsiteY0" fmla="*/ 0 h 783422"/>
                  <a:gd name="connsiteX1" fmla="*/ 9489162 w 9489162"/>
                  <a:gd name="connsiteY1" fmla="*/ 0 h 783422"/>
                  <a:gd name="connsiteX2" fmla="*/ 9489162 w 9489162"/>
                  <a:gd name="connsiteY2" fmla="*/ 783422 h 783422"/>
                  <a:gd name="connsiteX3" fmla="*/ 0 w 9489162"/>
                  <a:gd name="connsiteY3" fmla="*/ 783422 h 783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89162" h="783422">
                    <a:moveTo>
                      <a:pt x="339354" y="0"/>
                    </a:moveTo>
                    <a:lnTo>
                      <a:pt x="9489162" y="0"/>
                    </a:lnTo>
                    <a:lnTo>
                      <a:pt x="9489162" y="783422"/>
                    </a:lnTo>
                    <a:lnTo>
                      <a:pt x="0" y="783422"/>
                    </a:ln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6"/>
              <p:cNvSpPr>
                <a:spLocks/>
              </p:cNvSpPr>
              <p:nvPr/>
            </p:nvSpPr>
            <p:spPr bwMode="auto">
              <a:xfrm>
                <a:off x="2851090" y="1779503"/>
                <a:ext cx="618592" cy="783422"/>
              </a:xfrm>
              <a:custGeom>
                <a:avLst/>
                <a:gdLst>
                  <a:gd name="T0" fmla="*/ 0 w 319"/>
                  <a:gd name="T1" fmla="*/ 404 h 404"/>
                  <a:gd name="T2" fmla="*/ 177 w 319"/>
                  <a:gd name="T3" fmla="*/ 0 h 404"/>
                  <a:gd name="T4" fmla="*/ 319 w 319"/>
                  <a:gd name="T5" fmla="*/ 0 h 404"/>
                  <a:gd name="T6" fmla="*/ 142 w 319"/>
                  <a:gd name="T7" fmla="*/ 404 h 404"/>
                  <a:gd name="T8" fmla="*/ 0 w 319"/>
                  <a:gd name="T9" fmla="*/ 404 h 404"/>
                  <a:gd name="T10" fmla="*/ 0 w 319"/>
                  <a:gd name="T11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9" h="404">
                    <a:moveTo>
                      <a:pt x="0" y="404"/>
                    </a:moveTo>
                    <a:lnTo>
                      <a:pt x="177" y="0"/>
                    </a:lnTo>
                    <a:lnTo>
                      <a:pt x="319" y="0"/>
                    </a:lnTo>
                    <a:lnTo>
                      <a:pt x="142" y="404"/>
                    </a:lnTo>
                    <a:lnTo>
                      <a:pt x="0" y="404"/>
                    </a:lnTo>
                    <a:lnTo>
                      <a:pt x="0" y="404"/>
                    </a:lnTo>
                    <a:close/>
                  </a:path>
                </a:pathLst>
              </a:cu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6040437" y="1986365"/>
              <a:ext cx="539006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ny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567737" y="1986365"/>
              <a:ext cx="2261035" cy="3387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Windows, Android, iO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591348" y="1986365"/>
              <a:ext cx="3108984" cy="4063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SUPPORTED PLATFORMS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856136" y="2582936"/>
            <a:ext cx="10574498" cy="648200"/>
            <a:chOff x="1852226" y="2582156"/>
            <a:chExt cx="10584249" cy="648798"/>
          </a:xfrm>
        </p:grpSpPr>
        <p:grpSp>
          <p:nvGrpSpPr>
            <p:cNvPr id="22" name="Group 21"/>
            <p:cNvGrpSpPr/>
            <p:nvPr/>
          </p:nvGrpSpPr>
          <p:grpSpPr>
            <a:xfrm>
              <a:off x="1852226" y="2582156"/>
              <a:ext cx="10584249" cy="648798"/>
              <a:chOff x="2473508" y="2648351"/>
              <a:chExt cx="12780452" cy="783422"/>
            </a:xfrm>
          </p:grpSpPr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2569731" y="2648351"/>
                <a:ext cx="12684229" cy="783422"/>
              </a:xfrm>
              <a:custGeom>
                <a:avLst/>
                <a:gdLst>
                  <a:gd name="connsiteX0" fmla="*/ 339354 w 9866744"/>
                  <a:gd name="connsiteY0" fmla="*/ 0 h 783422"/>
                  <a:gd name="connsiteX1" fmla="*/ 9866744 w 9866744"/>
                  <a:gd name="connsiteY1" fmla="*/ 0 h 783422"/>
                  <a:gd name="connsiteX2" fmla="*/ 9866744 w 9866744"/>
                  <a:gd name="connsiteY2" fmla="*/ 783422 h 783422"/>
                  <a:gd name="connsiteX3" fmla="*/ 0 w 9866744"/>
                  <a:gd name="connsiteY3" fmla="*/ 783422 h 783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66744" h="783422">
                    <a:moveTo>
                      <a:pt x="339354" y="0"/>
                    </a:moveTo>
                    <a:lnTo>
                      <a:pt x="9866744" y="0"/>
                    </a:lnTo>
                    <a:lnTo>
                      <a:pt x="9866744" y="783422"/>
                    </a:lnTo>
                    <a:lnTo>
                      <a:pt x="0" y="783422"/>
                    </a:ln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2473508" y="2648351"/>
                <a:ext cx="618592" cy="783422"/>
              </a:xfrm>
              <a:custGeom>
                <a:avLst/>
                <a:gdLst>
                  <a:gd name="T0" fmla="*/ 0 w 319"/>
                  <a:gd name="T1" fmla="*/ 404 h 404"/>
                  <a:gd name="T2" fmla="*/ 177 w 319"/>
                  <a:gd name="T3" fmla="*/ 0 h 404"/>
                  <a:gd name="T4" fmla="*/ 319 w 319"/>
                  <a:gd name="T5" fmla="*/ 0 h 404"/>
                  <a:gd name="T6" fmla="*/ 142 w 319"/>
                  <a:gd name="T7" fmla="*/ 404 h 404"/>
                  <a:gd name="T8" fmla="*/ 0 w 319"/>
                  <a:gd name="T9" fmla="*/ 404 h 404"/>
                  <a:gd name="T10" fmla="*/ 0 w 319"/>
                  <a:gd name="T11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9" h="404">
                    <a:moveTo>
                      <a:pt x="0" y="404"/>
                    </a:moveTo>
                    <a:lnTo>
                      <a:pt x="177" y="0"/>
                    </a:lnTo>
                    <a:lnTo>
                      <a:pt x="319" y="0"/>
                    </a:lnTo>
                    <a:lnTo>
                      <a:pt x="142" y="404"/>
                    </a:lnTo>
                    <a:lnTo>
                      <a:pt x="0" y="404"/>
                    </a:lnTo>
                    <a:lnTo>
                      <a:pt x="0" y="404"/>
                    </a:lnTo>
                    <a:close/>
                  </a:path>
                </a:pathLst>
              </a:cu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</p:grpSp>
        <p:sp>
          <p:nvSpPr>
            <p:cNvPr id="23" name="Rectangle 22"/>
            <p:cNvSpPr/>
            <p:nvPr/>
          </p:nvSpPr>
          <p:spPr>
            <a:xfrm>
              <a:off x="6040437" y="2724968"/>
              <a:ext cx="459203" cy="3387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599" kern="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No</a:t>
              </a: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567737" y="2724968"/>
              <a:ext cx="497323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Yes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364519" y="2724968"/>
              <a:ext cx="2519357" cy="4003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Real Time Streaming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556103" y="3317784"/>
            <a:ext cx="10874531" cy="648200"/>
            <a:chOff x="1551916" y="3317681"/>
            <a:chExt cx="10884559" cy="648798"/>
          </a:xfrm>
        </p:grpSpPr>
        <p:grpSp>
          <p:nvGrpSpPr>
            <p:cNvPr id="29" name="Group 28"/>
            <p:cNvGrpSpPr/>
            <p:nvPr/>
          </p:nvGrpSpPr>
          <p:grpSpPr>
            <a:xfrm>
              <a:off x="1551916" y="3317681"/>
              <a:ext cx="10884559" cy="648798"/>
              <a:chOff x="2110884" y="3507231"/>
              <a:chExt cx="13143076" cy="783422"/>
            </a:xfrm>
          </p:grpSpPr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2207107" y="3507231"/>
                <a:ext cx="13046853" cy="783422"/>
              </a:xfrm>
              <a:custGeom>
                <a:avLst/>
                <a:gdLst>
                  <a:gd name="connsiteX0" fmla="*/ 339354 w 10229368"/>
                  <a:gd name="connsiteY0" fmla="*/ 0 h 783422"/>
                  <a:gd name="connsiteX1" fmla="*/ 10229368 w 10229368"/>
                  <a:gd name="connsiteY1" fmla="*/ 0 h 783422"/>
                  <a:gd name="connsiteX2" fmla="*/ 10229368 w 10229368"/>
                  <a:gd name="connsiteY2" fmla="*/ 783422 h 783422"/>
                  <a:gd name="connsiteX3" fmla="*/ 0 w 10229368"/>
                  <a:gd name="connsiteY3" fmla="*/ 783422 h 783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29368" h="783422">
                    <a:moveTo>
                      <a:pt x="339354" y="0"/>
                    </a:moveTo>
                    <a:lnTo>
                      <a:pt x="10229368" y="0"/>
                    </a:lnTo>
                    <a:lnTo>
                      <a:pt x="10229368" y="783422"/>
                    </a:lnTo>
                    <a:lnTo>
                      <a:pt x="0" y="783422"/>
                    </a:ln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6"/>
              <p:cNvSpPr>
                <a:spLocks/>
              </p:cNvSpPr>
              <p:nvPr/>
            </p:nvSpPr>
            <p:spPr bwMode="auto">
              <a:xfrm>
                <a:off x="2110884" y="3507231"/>
                <a:ext cx="618592" cy="783422"/>
              </a:xfrm>
              <a:custGeom>
                <a:avLst/>
                <a:gdLst>
                  <a:gd name="T0" fmla="*/ 0 w 319"/>
                  <a:gd name="T1" fmla="*/ 404 h 404"/>
                  <a:gd name="T2" fmla="*/ 177 w 319"/>
                  <a:gd name="T3" fmla="*/ 0 h 404"/>
                  <a:gd name="T4" fmla="*/ 319 w 319"/>
                  <a:gd name="T5" fmla="*/ 0 h 404"/>
                  <a:gd name="T6" fmla="*/ 142 w 319"/>
                  <a:gd name="T7" fmla="*/ 404 h 404"/>
                  <a:gd name="T8" fmla="*/ 0 w 319"/>
                  <a:gd name="T9" fmla="*/ 404 h 404"/>
                  <a:gd name="T10" fmla="*/ 0 w 319"/>
                  <a:gd name="T11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9" h="404">
                    <a:moveTo>
                      <a:pt x="0" y="404"/>
                    </a:moveTo>
                    <a:lnTo>
                      <a:pt x="177" y="0"/>
                    </a:lnTo>
                    <a:lnTo>
                      <a:pt x="319" y="0"/>
                    </a:lnTo>
                    <a:lnTo>
                      <a:pt x="142" y="404"/>
                    </a:lnTo>
                    <a:lnTo>
                      <a:pt x="0" y="404"/>
                    </a:lnTo>
                    <a:lnTo>
                      <a:pt x="0" y="404"/>
                    </a:lnTo>
                    <a:close/>
                  </a:path>
                </a:pathLst>
              </a:cu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</p:grpSp>
        <p:sp>
          <p:nvSpPr>
            <p:cNvPr id="30" name="Rectangle 29"/>
            <p:cNvSpPr/>
            <p:nvPr/>
          </p:nvSpPr>
          <p:spPr>
            <a:xfrm>
              <a:off x="6040437" y="3463571"/>
              <a:ext cx="465258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No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567737" y="3463571"/>
              <a:ext cx="497323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Yes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024919" y="3463571"/>
              <a:ext cx="1826400" cy="4063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MIC SUPPORT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242951" y="4052630"/>
            <a:ext cx="11187683" cy="648200"/>
            <a:chOff x="1238475" y="4053205"/>
            <a:chExt cx="11197999" cy="648798"/>
          </a:xfrm>
        </p:grpSpPr>
        <p:grpSp>
          <p:nvGrpSpPr>
            <p:cNvPr id="36" name="Group 35"/>
            <p:cNvGrpSpPr/>
            <p:nvPr/>
          </p:nvGrpSpPr>
          <p:grpSpPr>
            <a:xfrm>
              <a:off x="1238475" y="4053205"/>
              <a:ext cx="11197999" cy="648798"/>
              <a:chOff x="2110884" y="3507231"/>
              <a:chExt cx="13521553" cy="783422"/>
            </a:xfrm>
          </p:grpSpPr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2207106" y="3507231"/>
                <a:ext cx="13425331" cy="783422"/>
              </a:xfrm>
              <a:custGeom>
                <a:avLst/>
                <a:gdLst>
                  <a:gd name="connsiteX0" fmla="*/ 339354 w 10229368"/>
                  <a:gd name="connsiteY0" fmla="*/ 0 h 783422"/>
                  <a:gd name="connsiteX1" fmla="*/ 10229368 w 10229368"/>
                  <a:gd name="connsiteY1" fmla="*/ 0 h 783422"/>
                  <a:gd name="connsiteX2" fmla="*/ 10229368 w 10229368"/>
                  <a:gd name="connsiteY2" fmla="*/ 783422 h 783422"/>
                  <a:gd name="connsiteX3" fmla="*/ 0 w 10229368"/>
                  <a:gd name="connsiteY3" fmla="*/ 783422 h 783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29368" h="783422">
                    <a:moveTo>
                      <a:pt x="339354" y="0"/>
                    </a:moveTo>
                    <a:lnTo>
                      <a:pt x="10229368" y="0"/>
                    </a:lnTo>
                    <a:lnTo>
                      <a:pt x="10229368" y="783422"/>
                    </a:lnTo>
                    <a:lnTo>
                      <a:pt x="0" y="783422"/>
                    </a:ln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41" name="Freeform 6"/>
              <p:cNvSpPr>
                <a:spLocks/>
              </p:cNvSpPr>
              <p:nvPr/>
            </p:nvSpPr>
            <p:spPr bwMode="auto">
              <a:xfrm>
                <a:off x="2110884" y="3507231"/>
                <a:ext cx="618592" cy="783422"/>
              </a:xfrm>
              <a:custGeom>
                <a:avLst/>
                <a:gdLst>
                  <a:gd name="T0" fmla="*/ 0 w 319"/>
                  <a:gd name="T1" fmla="*/ 404 h 404"/>
                  <a:gd name="T2" fmla="*/ 177 w 319"/>
                  <a:gd name="T3" fmla="*/ 0 h 404"/>
                  <a:gd name="T4" fmla="*/ 319 w 319"/>
                  <a:gd name="T5" fmla="*/ 0 h 404"/>
                  <a:gd name="T6" fmla="*/ 142 w 319"/>
                  <a:gd name="T7" fmla="*/ 404 h 404"/>
                  <a:gd name="T8" fmla="*/ 0 w 319"/>
                  <a:gd name="T9" fmla="*/ 404 h 404"/>
                  <a:gd name="T10" fmla="*/ 0 w 319"/>
                  <a:gd name="T11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9" h="404">
                    <a:moveTo>
                      <a:pt x="0" y="404"/>
                    </a:moveTo>
                    <a:lnTo>
                      <a:pt x="177" y="0"/>
                    </a:lnTo>
                    <a:lnTo>
                      <a:pt x="319" y="0"/>
                    </a:lnTo>
                    <a:lnTo>
                      <a:pt x="142" y="404"/>
                    </a:lnTo>
                    <a:lnTo>
                      <a:pt x="0" y="404"/>
                    </a:lnTo>
                    <a:lnTo>
                      <a:pt x="0" y="404"/>
                    </a:lnTo>
                    <a:close/>
                  </a:path>
                </a:pathLst>
              </a:cu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Rectangle 36"/>
            <p:cNvSpPr/>
            <p:nvPr/>
          </p:nvSpPr>
          <p:spPr>
            <a:xfrm>
              <a:off x="6040437" y="4202174"/>
              <a:ext cx="465258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No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8567737" y="4202174"/>
              <a:ext cx="497323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Ye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750768" y="4202174"/>
              <a:ext cx="3564301" cy="4063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SILENCE DETECTION ON MIC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913016" y="4787477"/>
            <a:ext cx="11517619" cy="648200"/>
            <a:chOff x="908236" y="4788730"/>
            <a:chExt cx="11528240" cy="648798"/>
          </a:xfrm>
        </p:grpSpPr>
        <p:grpSp>
          <p:nvGrpSpPr>
            <p:cNvPr id="43" name="Group 42"/>
            <p:cNvGrpSpPr/>
            <p:nvPr/>
          </p:nvGrpSpPr>
          <p:grpSpPr>
            <a:xfrm>
              <a:off x="908236" y="4788730"/>
              <a:ext cx="11528240" cy="648798"/>
              <a:chOff x="2110884" y="3507231"/>
              <a:chExt cx="13920318" cy="783422"/>
            </a:xfrm>
          </p:grpSpPr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2207106" y="3507231"/>
                <a:ext cx="13824096" cy="783422"/>
              </a:xfrm>
              <a:custGeom>
                <a:avLst/>
                <a:gdLst>
                  <a:gd name="connsiteX0" fmla="*/ 339354 w 10229368"/>
                  <a:gd name="connsiteY0" fmla="*/ 0 h 783422"/>
                  <a:gd name="connsiteX1" fmla="*/ 10229368 w 10229368"/>
                  <a:gd name="connsiteY1" fmla="*/ 0 h 783422"/>
                  <a:gd name="connsiteX2" fmla="*/ 10229368 w 10229368"/>
                  <a:gd name="connsiteY2" fmla="*/ 783422 h 783422"/>
                  <a:gd name="connsiteX3" fmla="*/ 0 w 10229368"/>
                  <a:gd name="connsiteY3" fmla="*/ 783422 h 783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29368" h="783422">
                    <a:moveTo>
                      <a:pt x="339354" y="0"/>
                    </a:moveTo>
                    <a:lnTo>
                      <a:pt x="10229368" y="0"/>
                    </a:lnTo>
                    <a:lnTo>
                      <a:pt x="10229368" y="783422"/>
                    </a:lnTo>
                    <a:lnTo>
                      <a:pt x="0" y="783422"/>
                    </a:ln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6"/>
              <p:cNvSpPr>
                <a:spLocks/>
              </p:cNvSpPr>
              <p:nvPr/>
            </p:nvSpPr>
            <p:spPr bwMode="auto">
              <a:xfrm>
                <a:off x="2110884" y="3507231"/>
                <a:ext cx="618592" cy="783422"/>
              </a:xfrm>
              <a:custGeom>
                <a:avLst/>
                <a:gdLst>
                  <a:gd name="T0" fmla="*/ 0 w 319"/>
                  <a:gd name="T1" fmla="*/ 404 h 404"/>
                  <a:gd name="T2" fmla="*/ 177 w 319"/>
                  <a:gd name="T3" fmla="*/ 0 h 404"/>
                  <a:gd name="T4" fmla="*/ 319 w 319"/>
                  <a:gd name="T5" fmla="*/ 0 h 404"/>
                  <a:gd name="T6" fmla="*/ 142 w 319"/>
                  <a:gd name="T7" fmla="*/ 404 h 404"/>
                  <a:gd name="T8" fmla="*/ 0 w 319"/>
                  <a:gd name="T9" fmla="*/ 404 h 404"/>
                  <a:gd name="T10" fmla="*/ 0 w 319"/>
                  <a:gd name="T11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9" h="404">
                    <a:moveTo>
                      <a:pt x="0" y="404"/>
                    </a:moveTo>
                    <a:lnTo>
                      <a:pt x="177" y="0"/>
                    </a:lnTo>
                    <a:lnTo>
                      <a:pt x="319" y="0"/>
                    </a:lnTo>
                    <a:lnTo>
                      <a:pt x="142" y="404"/>
                    </a:lnTo>
                    <a:lnTo>
                      <a:pt x="0" y="404"/>
                    </a:lnTo>
                    <a:lnTo>
                      <a:pt x="0" y="404"/>
                    </a:lnTo>
                    <a:close/>
                  </a:path>
                </a:pathLst>
              </a:cu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6040437" y="4940777"/>
              <a:ext cx="680090" cy="343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Short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8567737" y="4940777"/>
              <a:ext cx="1527788" cy="3387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Short and long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420529" y="4940777"/>
              <a:ext cx="3014395" cy="4063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LENGTH OF UTTERANCE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12954" y="5522326"/>
            <a:ext cx="11817678" cy="648200"/>
            <a:chOff x="607897" y="5524256"/>
            <a:chExt cx="11828576" cy="648798"/>
          </a:xfrm>
        </p:grpSpPr>
        <p:grpSp>
          <p:nvGrpSpPr>
            <p:cNvPr id="50" name="Group 49"/>
            <p:cNvGrpSpPr/>
            <p:nvPr/>
          </p:nvGrpSpPr>
          <p:grpSpPr>
            <a:xfrm>
              <a:off x="607897" y="5524256"/>
              <a:ext cx="11828576" cy="648798"/>
              <a:chOff x="2110884" y="3507231"/>
              <a:chExt cx="14282973" cy="783422"/>
            </a:xfrm>
          </p:grpSpPr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2207104" y="3507231"/>
                <a:ext cx="14186753" cy="783422"/>
              </a:xfrm>
              <a:custGeom>
                <a:avLst/>
                <a:gdLst>
                  <a:gd name="connsiteX0" fmla="*/ 339354 w 10229368"/>
                  <a:gd name="connsiteY0" fmla="*/ 0 h 783422"/>
                  <a:gd name="connsiteX1" fmla="*/ 10229368 w 10229368"/>
                  <a:gd name="connsiteY1" fmla="*/ 0 h 783422"/>
                  <a:gd name="connsiteX2" fmla="*/ 10229368 w 10229368"/>
                  <a:gd name="connsiteY2" fmla="*/ 783422 h 783422"/>
                  <a:gd name="connsiteX3" fmla="*/ 0 w 10229368"/>
                  <a:gd name="connsiteY3" fmla="*/ 783422 h 783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29368" h="783422">
                    <a:moveTo>
                      <a:pt x="339354" y="0"/>
                    </a:moveTo>
                    <a:lnTo>
                      <a:pt x="10229368" y="0"/>
                    </a:lnTo>
                    <a:lnTo>
                      <a:pt x="10229368" y="783422"/>
                    </a:lnTo>
                    <a:lnTo>
                      <a:pt x="0" y="783422"/>
                    </a:ln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6"/>
              <p:cNvSpPr>
                <a:spLocks/>
              </p:cNvSpPr>
              <p:nvPr/>
            </p:nvSpPr>
            <p:spPr bwMode="auto">
              <a:xfrm>
                <a:off x="2110884" y="3507231"/>
                <a:ext cx="618592" cy="783422"/>
              </a:xfrm>
              <a:custGeom>
                <a:avLst/>
                <a:gdLst>
                  <a:gd name="T0" fmla="*/ 0 w 319"/>
                  <a:gd name="T1" fmla="*/ 404 h 404"/>
                  <a:gd name="T2" fmla="*/ 177 w 319"/>
                  <a:gd name="T3" fmla="*/ 0 h 404"/>
                  <a:gd name="T4" fmla="*/ 319 w 319"/>
                  <a:gd name="T5" fmla="*/ 0 h 404"/>
                  <a:gd name="T6" fmla="*/ 142 w 319"/>
                  <a:gd name="T7" fmla="*/ 404 h 404"/>
                  <a:gd name="T8" fmla="*/ 0 w 319"/>
                  <a:gd name="T9" fmla="*/ 404 h 404"/>
                  <a:gd name="T10" fmla="*/ 0 w 319"/>
                  <a:gd name="T11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9" h="404">
                    <a:moveTo>
                      <a:pt x="0" y="404"/>
                    </a:moveTo>
                    <a:lnTo>
                      <a:pt x="177" y="0"/>
                    </a:lnTo>
                    <a:lnTo>
                      <a:pt x="319" y="0"/>
                    </a:lnTo>
                    <a:lnTo>
                      <a:pt x="142" y="404"/>
                    </a:lnTo>
                    <a:lnTo>
                      <a:pt x="0" y="404"/>
                    </a:lnTo>
                    <a:lnTo>
                      <a:pt x="0" y="404"/>
                    </a:lnTo>
                    <a:close/>
                  </a:path>
                </a:pathLst>
              </a:cu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56" tIns="45677" rIns="91356" bIns="456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endParaRPr>
              </a:p>
            </p:txBody>
          </p:sp>
        </p:grpSp>
        <p:sp>
          <p:nvSpPr>
            <p:cNvPr id="51" name="Rectangle 50"/>
            <p:cNvSpPr/>
            <p:nvPr/>
          </p:nvSpPr>
          <p:spPr>
            <a:xfrm>
              <a:off x="6040437" y="5679378"/>
              <a:ext cx="2115028" cy="3387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n-best response back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8567737" y="5556268"/>
              <a:ext cx="3703638" cy="5946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Multiple partial results, n-best (short), and multiple phrases (long)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121570" y="5679378"/>
              <a:ext cx="3086539" cy="4063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NUMBER OF RESPONSES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-25595" y="6237877"/>
            <a:ext cx="12456230" cy="617455"/>
            <a:chOff x="-1" y="6240462"/>
            <a:chExt cx="12436475" cy="618024"/>
          </a:xfrm>
          <a:solidFill>
            <a:schemeClr val="accent2"/>
          </a:solidFill>
        </p:grpSpPr>
        <p:sp>
          <p:nvSpPr>
            <p:cNvPr id="59" name="Flowchart: Process 4"/>
            <p:cNvSpPr/>
            <p:nvPr/>
          </p:nvSpPr>
          <p:spPr bwMode="auto">
            <a:xfrm>
              <a:off x="-1" y="6240462"/>
              <a:ext cx="12436475" cy="618024"/>
            </a:xfrm>
            <a:prstGeom prst="flowChartProcess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1356" tIns="91356" rIns="34263" bIns="34263" rtlCol="0" anchor="b" anchorCtr="0"/>
            <a:lstStyle/>
            <a:p>
              <a:pPr marL="0" marR="0" lvl="0" indent="0" algn="ctr" defTabSz="9314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Text Placeholder 1"/>
            <p:cNvSpPr txBox="1">
              <a:spLocks/>
            </p:cNvSpPr>
            <p:nvPr/>
          </p:nvSpPr>
          <p:spPr>
            <a:xfrm>
              <a:off x="293588" y="6250990"/>
              <a:ext cx="11704638" cy="523781"/>
            </a:xfrm>
            <a:prstGeom prst="rect">
              <a:avLst/>
            </a:prstGeom>
            <a:grpFill/>
          </p:spPr>
          <p:txBody>
            <a:bodyPr vert="horz" wrap="square" lIns="146170" tIns="91356" rIns="146170" bIns="91356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199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600"/>
                </a:spcAft>
                <a:buClrTx/>
                <a:buSzPct val="90000"/>
                <a:buFont typeface="Arial" pitchFamily="34" charset="0"/>
                <a:buNone/>
                <a:tabLst/>
                <a:defRPr/>
              </a:pP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upports 7 languages: </a:t>
              </a:r>
              <a:r>
                <a:rPr kumimoji="0" lang="en-US" sz="239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n</a:t>
              </a: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-US, </a:t>
              </a:r>
              <a:r>
                <a:rPr kumimoji="0" lang="en-US" sz="239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n</a:t>
              </a: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-GB, </a:t>
              </a:r>
              <a:r>
                <a:rPr kumimoji="0" lang="en-US" sz="239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zh</a:t>
              </a: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-CN, it-IT, </a:t>
              </a:r>
              <a:r>
                <a:rPr kumimoji="0" lang="en-US" sz="239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r</a:t>
              </a: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-FR, </a:t>
              </a:r>
              <a:r>
                <a:rPr kumimoji="0" lang="en-US" sz="239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s</a:t>
              </a: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-ES, de-DE 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-25596" y="6248803"/>
            <a:ext cx="12425017" cy="753368"/>
            <a:chOff x="-1" y="6251396"/>
            <a:chExt cx="12436475" cy="754063"/>
          </a:xfrm>
          <a:solidFill>
            <a:schemeClr val="accent2"/>
          </a:solidFill>
        </p:grpSpPr>
        <p:sp>
          <p:nvSpPr>
            <p:cNvPr id="58" name="Flowchart: Process 4"/>
            <p:cNvSpPr/>
            <p:nvPr/>
          </p:nvSpPr>
          <p:spPr bwMode="auto">
            <a:xfrm>
              <a:off x="-1" y="6251396"/>
              <a:ext cx="12436475" cy="754063"/>
            </a:xfrm>
            <a:prstGeom prst="flowChartProcess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1356" tIns="91356" rIns="34263" bIns="34263" rtlCol="0" anchor="b" anchorCtr="0"/>
            <a:lstStyle/>
            <a:p>
              <a:pPr marL="0" marR="0" lvl="0" indent="0" algn="ctr" defTabSz="9314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Text Placeholder 1"/>
            <p:cNvSpPr txBox="1">
              <a:spLocks/>
            </p:cNvSpPr>
            <p:nvPr/>
          </p:nvSpPr>
          <p:spPr>
            <a:xfrm>
              <a:off x="325982" y="6259213"/>
              <a:ext cx="11704638" cy="523781"/>
            </a:xfrm>
            <a:prstGeom prst="rect">
              <a:avLst/>
            </a:prstGeom>
            <a:grpFill/>
          </p:spPr>
          <p:txBody>
            <a:bodyPr vert="horz" wrap="square" lIns="146170" tIns="91356" rIns="146170" bIns="91356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199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600"/>
                </a:spcAft>
                <a:buClrTx/>
                <a:buSzPct val="90000"/>
                <a:buFont typeface="Arial" pitchFamily="34" charset="0"/>
                <a:buNone/>
                <a:tabLst/>
                <a:defRPr/>
              </a:pPr>
              <a:r>
                <a:rPr kumimoji="0" lang="en-US" sz="2398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ame technology that supports Microsoft offerings of Xbox, Windows, and Cortana</a:t>
              </a:r>
            </a:p>
          </p:txBody>
        </p:sp>
      </p:grpSp>
      <p:sp>
        <p:nvSpPr>
          <p:cNvPr id="64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oice recognition</a:t>
            </a:r>
          </a:p>
        </p:txBody>
      </p:sp>
      <p:grpSp>
        <p:nvGrpSpPr>
          <p:cNvPr id="65" name="Group 64"/>
          <p:cNvGrpSpPr/>
          <p:nvPr/>
        </p:nvGrpSpPr>
        <p:grpSpPr>
          <a:xfrm>
            <a:off x="222078" y="472375"/>
            <a:ext cx="781750" cy="594960"/>
            <a:chOff x="4543910" y="2378075"/>
            <a:chExt cx="1076325" cy="819150"/>
          </a:xfrm>
        </p:grpSpPr>
        <p:sp>
          <p:nvSpPr>
            <p:cNvPr id="66" name="Freeform 5"/>
            <p:cNvSpPr>
              <a:spLocks/>
            </p:cNvSpPr>
            <p:nvPr/>
          </p:nvSpPr>
          <p:spPr bwMode="auto">
            <a:xfrm>
              <a:off x="4543910" y="2378075"/>
              <a:ext cx="1076325" cy="819150"/>
            </a:xfrm>
            <a:custGeom>
              <a:avLst/>
              <a:gdLst>
                <a:gd name="T0" fmla="*/ 538 w 702"/>
                <a:gd name="T1" fmla="*/ 12 h 534"/>
                <a:gd name="T2" fmla="*/ 184 w 702"/>
                <a:gd name="T3" fmla="*/ 13 h 534"/>
                <a:gd name="T4" fmla="*/ 0 w 702"/>
                <a:gd name="T5" fmla="*/ 180 h 534"/>
                <a:gd name="T6" fmla="*/ 0 w 702"/>
                <a:gd name="T7" fmla="*/ 267 h 534"/>
                <a:gd name="T8" fmla="*/ 156 w 702"/>
                <a:gd name="T9" fmla="*/ 439 h 534"/>
                <a:gd name="T10" fmla="*/ 209 w 702"/>
                <a:gd name="T11" fmla="*/ 443 h 534"/>
                <a:gd name="T12" fmla="*/ 209 w 702"/>
                <a:gd name="T13" fmla="*/ 443 h 534"/>
                <a:gd name="T14" fmla="*/ 151 w 702"/>
                <a:gd name="T15" fmla="*/ 531 h 534"/>
                <a:gd name="T16" fmla="*/ 262 w 702"/>
                <a:gd name="T17" fmla="*/ 510 h 534"/>
                <a:gd name="T18" fmla="*/ 335 w 702"/>
                <a:gd name="T19" fmla="*/ 473 h 534"/>
                <a:gd name="T20" fmla="*/ 394 w 702"/>
                <a:gd name="T21" fmla="*/ 448 h 534"/>
                <a:gd name="T22" fmla="*/ 394 w 702"/>
                <a:gd name="T23" fmla="*/ 448 h 534"/>
                <a:gd name="T24" fmla="*/ 408 w 702"/>
                <a:gd name="T25" fmla="*/ 448 h 534"/>
                <a:gd name="T26" fmla="*/ 542 w 702"/>
                <a:gd name="T27" fmla="*/ 439 h 534"/>
                <a:gd name="T28" fmla="*/ 702 w 702"/>
                <a:gd name="T29" fmla="*/ 267 h 534"/>
                <a:gd name="T30" fmla="*/ 702 w 702"/>
                <a:gd name="T31" fmla="*/ 180 h 534"/>
                <a:gd name="T32" fmla="*/ 538 w 702"/>
                <a:gd name="T33" fmla="*/ 1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2" h="534">
                  <a:moveTo>
                    <a:pt x="538" y="12"/>
                  </a:moveTo>
                  <a:cubicBezTo>
                    <a:pt x="449" y="0"/>
                    <a:pt x="272" y="2"/>
                    <a:pt x="184" y="13"/>
                  </a:cubicBezTo>
                  <a:cubicBezTo>
                    <a:pt x="96" y="23"/>
                    <a:pt x="0" y="72"/>
                    <a:pt x="0" y="18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372"/>
                    <a:pt x="88" y="430"/>
                    <a:pt x="156" y="439"/>
                  </a:cubicBezTo>
                  <a:cubicBezTo>
                    <a:pt x="169" y="440"/>
                    <a:pt x="187" y="442"/>
                    <a:pt x="209" y="443"/>
                  </a:cubicBezTo>
                  <a:cubicBezTo>
                    <a:pt x="209" y="443"/>
                    <a:pt x="209" y="443"/>
                    <a:pt x="209" y="443"/>
                  </a:cubicBezTo>
                  <a:cubicBezTo>
                    <a:pt x="209" y="443"/>
                    <a:pt x="220" y="459"/>
                    <a:pt x="151" y="531"/>
                  </a:cubicBezTo>
                  <a:cubicBezTo>
                    <a:pt x="148" y="534"/>
                    <a:pt x="215" y="526"/>
                    <a:pt x="262" y="510"/>
                  </a:cubicBezTo>
                  <a:cubicBezTo>
                    <a:pt x="309" y="494"/>
                    <a:pt x="307" y="490"/>
                    <a:pt x="335" y="473"/>
                  </a:cubicBezTo>
                  <a:cubicBezTo>
                    <a:pt x="363" y="456"/>
                    <a:pt x="356" y="456"/>
                    <a:pt x="394" y="448"/>
                  </a:cubicBezTo>
                  <a:cubicBezTo>
                    <a:pt x="394" y="448"/>
                    <a:pt x="394" y="448"/>
                    <a:pt x="394" y="448"/>
                  </a:cubicBezTo>
                  <a:cubicBezTo>
                    <a:pt x="399" y="448"/>
                    <a:pt x="403" y="448"/>
                    <a:pt x="408" y="448"/>
                  </a:cubicBezTo>
                  <a:cubicBezTo>
                    <a:pt x="458" y="447"/>
                    <a:pt x="506" y="444"/>
                    <a:pt x="542" y="439"/>
                  </a:cubicBezTo>
                  <a:cubicBezTo>
                    <a:pt x="645" y="423"/>
                    <a:pt x="702" y="361"/>
                    <a:pt x="702" y="267"/>
                  </a:cubicBezTo>
                  <a:cubicBezTo>
                    <a:pt x="702" y="180"/>
                    <a:pt x="702" y="180"/>
                    <a:pt x="702" y="180"/>
                  </a:cubicBezTo>
                  <a:cubicBezTo>
                    <a:pt x="702" y="85"/>
                    <a:pt x="628" y="24"/>
                    <a:pt x="538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4710706" y="2492027"/>
              <a:ext cx="747713" cy="449263"/>
            </a:xfrm>
            <a:custGeom>
              <a:avLst/>
              <a:gdLst>
                <a:gd name="T0" fmla="*/ 379 w 488"/>
                <a:gd name="T1" fmla="*/ 282 h 293"/>
                <a:gd name="T2" fmla="*/ 109 w 488"/>
                <a:gd name="T3" fmla="*/ 282 h 293"/>
                <a:gd name="T4" fmla="*/ 0 w 488"/>
                <a:gd name="T5" fmla="*/ 171 h 293"/>
                <a:gd name="T6" fmla="*/ 0 w 488"/>
                <a:gd name="T7" fmla="*/ 116 h 293"/>
                <a:gd name="T8" fmla="*/ 129 w 488"/>
                <a:gd name="T9" fmla="*/ 7 h 293"/>
                <a:gd name="T10" fmla="*/ 377 w 488"/>
                <a:gd name="T11" fmla="*/ 7 h 293"/>
                <a:gd name="T12" fmla="*/ 488 w 488"/>
                <a:gd name="T13" fmla="*/ 116 h 293"/>
                <a:gd name="T14" fmla="*/ 488 w 488"/>
                <a:gd name="T15" fmla="*/ 171 h 293"/>
                <a:gd name="T16" fmla="*/ 379 w 488"/>
                <a:gd name="T17" fmla="*/ 28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93">
                  <a:moveTo>
                    <a:pt x="379" y="282"/>
                  </a:moveTo>
                  <a:cubicBezTo>
                    <a:pt x="306" y="293"/>
                    <a:pt x="157" y="288"/>
                    <a:pt x="109" y="282"/>
                  </a:cubicBezTo>
                  <a:cubicBezTo>
                    <a:pt x="62" y="277"/>
                    <a:pt x="0" y="233"/>
                    <a:pt x="0" y="17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55"/>
                    <a:pt x="67" y="14"/>
                    <a:pt x="129" y="7"/>
                  </a:cubicBezTo>
                  <a:cubicBezTo>
                    <a:pt x="190" y="1"/>
                    <a:pt x="314" y="0"/>
                    <a:pt x="377" y="7"/>
                  </a:cubicBezTo>
                  <a:cubicBezTo>
                    <a:pt x="439" y="15"/>
                    <a:pt x="488" y="55"/>
                    <a:pt x="488" y="116"/>
                  </a:cubicBezTo>
                  <a:cubicBezTo>
                    <a:pt x="488" y="171"/>
                    <a:pt x="488" y="171"/>
                    <a:pt x="488" y="171"/>
                  </a:cubicBezTo>
                  <a:cubicBezTo>
                    <a:pt x="488" y="233"/>
                    <a:pt x="451" y="272"/>
                    <a:pt x="379" y="2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Oval 7"/>
            <p:cNvSpPr>
              <a:spLocks noChangeArrowheads="1"/>
            </p:cNvSpPr>
            <p:nvPr/>
          </p:nvSpPr>
          <p:spPr bwMode="auto">
            <a:xfrm>
              <a:off x="521553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Oval 8"/>
            <p:cNvSpPr>
              <a:spLocks noChangeArrowheads="1"/>
            </p:cNvSpPr>
            <p:nvPr/>
          </p:nvSpPr>
          <p:spPr bwMode="auto">
            <a:xfrm>
              <a:off x="504408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Oval 9"/>
            <p:cNvSpPr>
              <a:spLocks noChangeArrowheads="1"/>
            </p:cNvSpPr>
            <p:nvPr/>
          </p:nvSpPr>
          <p:spPr bwMode="auto">
            <a:xfrm>
              <a:off x="4871043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00267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6 L 3.41077E-6 -3.81298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5 L 2.30023E-6 2.46482E-6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5 L 2.30023E-6 2.46482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5 L 2.30023E-6 2.46482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5 L 2.30023E-6 2.46482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5 L 2.30023E-6 2.46482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9 0.00045 L 2.30023E-6 2.46482E-6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6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5619" y="3975753"/>
            <a:ext cx="12181630" cy="2892933"/>
            <a:chOff x="1" y="3802062"/>
            <a:chExt cx="12192863" cy="2895601"/>
          </a:xfrm>
        </p:grpSpPr>
        <p:sp>
          <p:nvSpPr>
            <p:cNvPr id="5" name="Rectangle 4"/>
            <p:cNvSpPr/>
            <p:nvPr/>
          </p:nvSpPr>
          <p:spPr bwMode="auto">
            <a:xfrm>
              <a:off x="1" y="3802062"/>
              <a:ext cx="12192863" cy="289560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Oval Callout 6"/>
            <p:cNvSpPr/>
            <p:nvPr/>
          </p:nvSpPr>
          <p:spPr bwMode="auto">
            <a:xfrm>
              <a:off x="9023042" y="4106862"/>
              <a:ext cx="3050553" cy="1676401"/>
            </a:xfrm>
            <a:prstGeom prst="wedgeEllipseCallout">
              <a:avLst>
                <a:gd name="adj1" fmla="val -44310"/>
                <a:gd name="adj2" fmla="val 50709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31477" eaLnBrk="1" fontAlgn="auto" latinLnBrk="0" hangingPunct="1">
                <a:lnSpc>
                  <a:spcPts val="239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9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Synthesize audio from text, to speak to your users</a:t>
              </a:r>
            </a:p>
          </p:txBody>
        </p:sp>
        <p:sp>
          <p:nvSpPr>
            <p:cNvPr id="7" name="Freeform 6"/>
            <p:cNvSpPr>
              <a:spLocks noChangeAspect="1"/>
            </p:cNvSpPr>
            <p:nvPr/>
          </p:nvSpPr>
          <p:spPr bwMode="auto">
            <a:xfrm>
              <a:off x="7872841" y="5024631"/>
              <a:ext cx="1593244" cy="1673032"/>
            </a:xfrm>
            <a:custGeom>
              <a:avLst/>
              <a:gdLst>
                <a:gd name="T0" fmla="*/ 26 w 997"/>
                <a:gd name="T1" fmla="*/ 1048 h 1048"/>
                <a:gd name="T2" fmla="*/ 123 w 997"/>
                <a:gd name="T3" fmla="*/ 725 h 1048"/>
                <a:gd name="T4" fmla="*/ 272 w 997"/>
                <a:gd name="T5" fmla="*/ 673 h 1048"/>
                <a:gd name="T6" fmla="*/ 382 w 997"/>
                <a:gd name="T7" fmla="*/ 621 h 1048"/>
                <a:gd name="T8" fmla="*/ 395 w 997"/>
                <a:gd name="T9" fmla="*/ 537 h 1048"/>
                <a:gd name="T10" fmla="*/ 343 w 997"/>
                <a:gd name="T11" fmla="*/ 408 h 1048"/>
                <a:gd name="T12" fmla="*/ 311 w 997"/>
                <a:gd name="T13" fmla="*/ 356 h 1048"/>
                <a:gd name="T14" fmla="*/ 324 w 997"/>
                <a:gd name="T15" fmla="*/ 278 h 1048"/>
                <a:gd name="T16" fmla="*/ 317 w 997"/>
                <a:gd name="T17" fmla="*/ 233 h 1048"/>
                <a:gd name="T18" fmla="*/ 376 w 997"/>
                <a:gd name="T19" fmla="*/ 84 h 1048"/>
                <a:gd name="T20" fmla="*/ 460 w 997"/>
                <a:gd name="T21" fmla="*/ 26 h 1048"/>
                <a:gd name="T22" fmla="*/ 453 w 997"/>
                <a:gd name="T23" fmla="*/ 58 h 1048"/>
                <a:gd name="T24" fmla="*/ 512 w 997"/>
                <a:gd name="T25" fmla="*/ 0 h 1048"/>
                <a:gd name="T26" fmla="*/ 512 w 997"/>
                <a:gd name="T27" fmla="*/ 13 h 1048"/>
                <a:gd name="T28" fmla="*/ 518 w 997"/>
                <a:gd name="T29" fmla="*/ 46 h 1048"/>
                <a:gd name="T30" fmla="*/ 518 w 997"/>
                <a:gd name="T31" fmla="*/ 46 h 1048"/>
                <a:gd name="T32" fmla="*/ 518 w 997"/>
                <a:gd name="T33" fmla="*/ 33 h 1048"/>
                <a:gd name="T34" fmla="*/ 563 w 997"/>
                <a:gd name="T35" fmla="*/ 46 h 1048"/>
                <a:gd name="T36" fmla="*/ 622 w 997"/>
                <a:gd name="T37" fmla="*/ 84 h 1048"/>
                <a:gd name="T38" fmla="*/ 680 w 997"/>
                <a:gd name="T39" fmla="*/ 220 h 1048"/>
                <a:gd name="T40" fmla="*/ 680 w 997"/>
                <a:gd name="T41" fmla="*/ 278 h 1048"/>
                <a:gd name="T42" fmla="*/ 699 w 997"/>
                <a:gd name="T43" fmla="*/ 356 h 1048"/>
                <a:gd name="T44" fmla="*/ 674 w 997"/>
                <a:gd name="T45" fmla="*/ 395 h 1048"/>
                <a:gd name="T46" fmla="*/ 602 w 997"/>
                <a:gd name="T47" fmla="*/ 537 h 1048"/>
                <a:gd name="T48" fmla="*/ 615 w 997"/>
                <a:gd name="T49" fmla="*/ 621 h 1048"/>
                <a:gd name="T50" fmla="*/ 615 w 997"/>
                <a:gd name="T51" fmla="*/ 621 h 1048"/>
                <a:gd name="T52" fmla="*/ 725 w 997"/>
                <a:gd name="T53" fmla="*/ 673 h 1048"/>
                <a:gd name="T54" fmla="*/ 874 w 997"/>
                <a:gd name="T55" fmla="*/ 725 h 1048"/>
                <a:gd name="T56" fmla="*/ 971 w 997"/>
                <a:gd name="T57" fmla="*/ 1048 h 1048"/>
                <a:gd name="T58" fmla="*/ 26 w 997"/>
                <a:gd name="T59" fmla="*/ 1048 h 1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97" h="1048">
                  <a:moveTo>
                    <a:pt x="26" y="1048"/>
                  </a:moveTo>
                  <a:cubicBezTo>
                    <a:pt x="26" y="1048"/>
                    <a:pt x="0" y="789"/>
                    <a:pt x="123" y="725"/>
                  </a:cubicBezTo>
                  <a:cubicBezTo>
                    <a:pt x="201" y="686"/>
                    <a:pt x="175" y="712"/>
                    <a:pt x="272" y="673"/>
                  </a:cubicBezTo>
                  <a:cubicBezTo>
                    <a:pt x="337" y="641"/>
                    <a:pt x="369" y="621"/>
                    <a:pt x="382" y="621"/>
                  </a:cubicBezTo>
                  <a:cubicBezTo>
                    <a:pt x="382" y="608"/>
                    <a:pt x="395" y="537"/>
                    <a:pt x="395" y="537"/>
                  </a:cubicBezTo>
                  <a:cubicBezTo>
                    <a:pt x="395" y="537"/>
                    <a:pt x="356" y="485"/>
                    <a:pt x="343" y="408"/>
                  </a:cubicBezTo>
                  <a:cubicBezTo>
                    <a:pt x="343" y="408"/>
                    <a:pt x="311" y="414"/>
                    <a:pt x="311" y="356"/>
                  </a:cubicBezTo>
                  <a:cubicBezTo>
                    <a:pt x="311" y="311"/>
                    <a:pt x="291" y="291"/>
                    <a:pt x="324" y="278"/>
                  </a:cubicBezTo>
                  <a:cubicBezTo>
                    <a:pt x="324" y="278"/>
                    <a:pt x="317" y="259"/>
                    <a:pt x="317" y="233"/>
                  </a:cubicBezTo>
                  <a:cubicBezTo>
                    <a:pt x="317" y="194"/>
                    <a:pt x="304" y="130"/>
                    <a:pt x="376" y="84"/>
                  </a:cubicBezTo>
                  <a:cubicBezTo>
                    <a:pt x="453" y="33"/>
                    <a:pt x="460" y="26"/>
                    <a:pt x="460" y="26"/>
                  </a:cubicBezTo>
                  <a:cubicBezTo>
                    <a:pt x="460" y="26"/>
                    <a:pt x="460" y="26"/>
                    <a:pt x="453" y="58"/>
                  </a:cubicBezTo>
                  <a:cubicBezTo>
                    <a:pt x="453" y="58"/>
                    <a:pt x="479" y="26"/>
                    <a:pt x="512" y="0"/>
                  </a:cubicBezTo>
                  <a:cubicBezTo>
                    <a:pt x="512" y="0"/>
                    <a:pt x="512" y="0"/>
                    <a:pt x="512" y="13"/>
                  </a:cubicBezTo>
                  <a:cubicBezTo>
                    <a:pt x="512" y="20"/>
                    <a:pt x="512" y="39"/>
                    <a:pt x="518" y="46"/>
                  </a:cubicBezTo>
                  <a:cubicBezTo>
                    <a:pt x="518" y="46"/>
                    <a:pt x="518" y="46"/>
                    <a:pt x="518" y="46"/>
                  </a:cubicBezTo>
                  <a:cubicBezTo>
                    <a:pt x="518" y="46"/>
                    <a:pt x="518" y="46"/>
                    <a:pt x="518" y="33"/>
                  </a:cubicBezTo>
                  <a:cubicBezTo>
                    <a:pt x="518" y="33"/>
                    <a:pt x="544" y="39"/>
                    <a:pt x="563" y="46"/>
                  </a:cubicBezTo>
                  <a:cubicBezTo>
                    <a:pt x="563" y="46"/>
                    <a:pt x="609" y="78"/>
                    <a:pt x="622" y="84"/>
                  </a:cubicBezTo>
                  <a:cubicBezTo>
                    <a:pt x="693" y="130"/>
                    <a:pt x="680" y="181"/>
                    <a:pt x="680" y="220"/>
                  </a:cubicBezTo>
                  <a:cubicBezTo>
                    <a:pt x="680" y="253"/>
                    <a:pt x="680" y="278"/>
                    <a:pt x="680" y="278"/>
                  </a:cubicBezTo>
                  <a:cubicBezTo>
                    <a:pt x="706" y="291"/>
                    <a:pt x="699" y="311"/>
                    <a:pt x="699" y="356"/>
                  </a:cubicBezTo>
                  <a:cubicBezTo>
                    <a:pt x="699" y="414"/>
                    <a:pt x="674" y="395"/>
                    <a:pt x="674" y="395"/>
                  </a:cubicBezTo>
                  <a:cubicBezTo>
                    <a:pt x="661" y="492"/>
                    <a:pt x="602" y="537"/>
                    <a:pt x="602" y="537"/>
                  </a:cubicBezTo>
                  <a:cubicBezTo>
                    <a:pt x="602" y="537"/>
                    <a:pt x="615" y="608"/>
                    <a:pt x="615" y="621"/>
                  </a:cubicBezTo>
                  <a:cubicBezTo>
                    <a:pt x="615" y="621"/>
                    <a:pt x="615" y="621"/>
                    <a:pt x="615" y="621"/>
                  </a:cubicBezTo>
                  <a:cubicBezTo>
                    <a:pt x="628" y="621"/>
                    <a:pt x="661" y="641"/>
                    <a:pt x="725" y="673"/>
                  </a:cubicBezTo>
                  <a:cubicBezTo>
                    <a:pt x="822" y="712"/>
                    <a:pt x="797" y="686"/>
                    <a:pt x="874" y="725"/>
                  </a:cubicBezTo>
                  <a:cubicBezTo>
                    <a:pt x="997" y="789"/>
                    <a:pt x="971" y="1048"/>
                    <a:pt x="971" y="1048"/>
                  </a:cubicBezTo>
                  <a:lnTo>
                    <a:pt x="26" y="10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91345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256615" y="1570949"/>
            <a:ext cx="6934736" cy="1763981"/>
            <a:chOff x="4254916" y="1569236"/>
            <a:chExt cx="6941131" cy="1765608"/>
          </a:xfrm>
        </p:grpSpPr>
        <p:sp>
          <p:nvSpPr>
            <p:cNvPr id="10" name="Rectangle 9"/>
            <p:cNvSpPr/>
            <p:nvPr/>
          </p:nvSpPr>
          <p:spPr>
            <a:xfrm>
              <a:off x="4254916" y="1569236"/>
              <a:ext cx="6941131" cy="5318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Synthesize audio from text via POST request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254916" y="2190349"/>
              <a:ext cx="5834674" cy="5318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Maximum audio return of 15 second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254916" y="2811462"/>
              <a:ext cx="3767643" cy="5233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9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17 languages supported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617" y="3903250"/>
            <a:ext cx="7686161" cy="2965436"/>
            <a:chOff x="-1" y="3729492"/>
            <a:chExt cx="7693249" cy="2968171"/>
          </a:xfrm>
        </p:grpSpPr>
        <p:sp>
          <p:nvSpPr>
            <p:cNvPr id="18" name="Pentagon 17"/>
            <p:cNvSpPr/>
            <p:nvPr/>
          </p:nvSpPr>
          <p:spPr bwMode="auto">
            <a:xfrm>
              <a:off x="-1" y="3802062"/>
              <a:ext cx="7437438" cy="2895601"/>
            </a:xfrm>
            <a:prstGeom prst="homePlate">
              <a:avLst>
                <a:gd name="adj" fmla="val 22388"/>
              </a:avLst>
            </a:prstGeom>
            <a:solidFill>
              <a:schemeClr val="accent4">
                <a:lumMod val="40000"/>
                <a:lumOff val="60000"/>
                <a:alpha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1356" tIns="91356" rIns="34263" bIns="34263" rtlCol="0" anchor="b" anchorCtr="0"/>
            <a:lstStyle/>
            <a:p>
              <a:pPr marL="0" marR="0" lvl="0" indent="0" algn="ctr" defTabSz="9314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7"/>
            <p:cNvSpPr txBox="1"/>
            <p:nvPr/>
          </p:nvSpPr>
          <p:spPr>
            <a:xfrm>
              <a:off x="343124" y="3729492"/>
              <a:ext cx="7350124" cy="2788811"/>
            </a:xfrm>
            <a:prstGeom prst="rect">
              <a:avLst/>
            </a:prstGeom>
            <a:noFill/>
          </p:spPr>
          <p:txBody>
            <a:bodyPr wrap="squar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&lt;speak version="1.0" </a:t>
              </a:r>
              <a:r>
                <a:rPr kumimoji="0" lang="en-US" sz="17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xmlns</a:t>
              </a: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="http://www.w3.org/2001/10/synthesis" </a:t>
              </a:r>
              <a:r>
                <a:rPr kumimoji="0" lang="en-US" sz="17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xmlns:mstts</a:t>
              </a: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="http://www.w3.org/2001/mstts" </a:t>
              </a:r>
              <a:r>
                <a:rPr kumimoji="0" lang="en-US" sz="17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xml:lang</a:t>
              </a: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="</a:t>
              </a:r>
              <a:r>
                <a:rPr kumimoji="0" lang="en-US" sz="17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en</a:t>
              </a: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-US"&gt;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&lt;voice name="Microsoft Server Speech Text to Speech Voice (</a:t>
              </a:r>
              <a:r>
                <a:rPr kumimoji="0" lang="en-US" sz="17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en</a:t>
              </a: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-US, </a:t>
              </a:r>
              <a:r>
                <a:rPr kumimoji="0" lang="en-US" sz="17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ZiraRUS</a:t>
              </a: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)"&gt;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endParaRP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Synthesize audio from text, to speak to your users.</a:t>
              </a:r>
            </a:p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&lt;/voice&gt;&lt;/speak&gt;</a:t>
              </a:r>
            </a:p>
          </p:txBody>
        </p:sp>
      </p:grpSp>
      <p:grpSp>
        <p:nvGrpSpPr>
          <p:cNvPr id="20" name="Group 4"/>
          <p:cNvGrpSpPr>
            <a:grpSpLocks noChangeAspect="1"/>
          </p:cNvGrpSpPr>
          <p:nvPr/>
        </p:nvGrpSpPr>
        <p:grpSpPr bwMode="auto">
          <a:xfrm>
            <a:off x="660651" y="1898474"/>
            <a:ext cx="3145385" cy="1319583"/>
            <a:chOff x="2811" y="1739"/>
            <a:chExt cx="2212" cy="928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11" y="1739"/>
              <a:ext cx="2212" cy="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2811" y="1737"/>
              <a:ext cx="2210" cy="933"/>
            </a:xfrm>
            <a:custGeom>
              <a:avLst/>
              <a:gdLst>
                <a:gd name="T0" fmla="*/ 133 w 932"/>
                <a:gd name="T1" fmla="*/ 392 h 392"/>
                <a:gd name="T2" fmla="*/ 255 w 932"/>
                <a:gd name="T3" fmla="*/ 368 h 392"/>
                <a:gd name="T4" fmla="*/ 388 w 932"/>
                <a:gd name="T5" fmla="*/ 368 h 392"/>
                <a:gd name="T6" fmla="*/ 97 w 932"/>
                <a:gd name="T7" fmla="*/ 358 h 392"/>
                <a:gd name="T8" fmla="*/ 219 w 932"/>
                <a:gd name="T9" fmla="*/ 335 h 392"/>
                <a:gd name="T10" fmla="*/ 352 w 932"/>
                <a:gd name="T11" fmla="*/ 335 h 392"/>
                <a:gd name="T12" fmla="*/ 61 w 932"/>
                <a:gd name="T13" fmla="*/ 325 h 392"/>
                <a:gd name="T14" fmla="*/ 182 w 932"/>
                <a:gd name="T15" fmla="*/ 301 h 392"/>
                <a:gd name="T16" fmla="*/ 315 w 932"/>
                <a:gd name="T17" fmla="*/ 301 h 392"/>
                <a:gd name="T18" fmla="*/ 24 w 932"/>
                <a:gd name="T19" fmla="*/ 291 h 392"/>
                <a:gd name="T20" fmla="*/ 146 w 932"/>
                <a:gd name="T21" fmla="*/ 268 h 392"/>
                <a:gd name="T22" fmla="*/ 279 w 932"/>
                <a:gd name="T23" fmla="*/ 268 h 392"/>
                <a:gd name="T24" fmla="*/ 425 w 932"/>
                <a:gd name="T25" fmla="*/ 291 h 392"/>
                <a:gd name="T26" fmla="*/ 109 w 932"/>
                <a:gd name="T27" fmla="*/ 234 h 392"/>
                <a:gd name="T28" fmla="*/ 243 w 932"/>
                <a:gd name="T29" fmla="*/ 234 h 392"/>
                <a:gd name="T30" fmla="*/ 388 w 932"/>
                <a:gd name="T31" fmla="*/ 258 h 392"/>
                <a:gd name="T32" fmla="*/ 73 w 932"/>
                <a:gd name="T33" fmla="*/ 201 h 392"/>
                <a:gd name="T34" fmla="*/ 206 w 932"/>
                <a:gd name="T35" fmla="*/ 201 h 392"/>
                <a:gd name="T36" fmla="*/ 352 w 932"/>
                <a:gd name="T37" fmla="*/ 225 h 392"/>
                <a:gd name="T38" fmla="*/ 37 w 932"/>
                <a:gd name="T39" fmla="*/ 168 h 392"/>
                <a:gd name="T40" fmla="*/ 170 w 932"/>
                <a:gd name="T41" fmla="*/ 168 h 392"/>
                <a:gd name="T42" fmla="*/ 315 w 932"/>
                <a:gd name="T43" fmla="*/ 191 h 392"/>
                <a:gd name="T44" fmla="*/ 37 w 932"/>
                <a:gd name="T45" fmla="*/ 134 h 392"/>
                <a:gd name="T46" fmla="*/ 206 w 932"/>
                <a:gd name="T47" fmla="*/ 134 h 392"/>
                <a:gd name="T48" fmla="*/ 388 w 932"/>
                <a:gd name="T49" fmla="*/ 158 h 392"/>
                <a:gd name="T50" fmla="*/ 109 w 932"/>
                <a:gd name="T51" fmla="*/ 100 h 392"/>
                <a:gd name="T52" fmla="*/ 279 w 932"/>
                <a:gd name="T53" fmla="*/ 100 h 392"/>
                <a:gd name="T54" fmla="*/ 170 w 932"/>
                <a:gd name="T55" fmla="*/ 90 h 392"/>
                <a:gd name="T56" fmla="*/ 693 w 932"/>
                <a:gd name="T57" fmla="*/ 368 h 392"/>
                <a:gd name="T58" fmla="*/ 680 w 932"/>
                <a:gd name="T59" fmla="*/ 335 h 392"/>
                <a:gd name="T60" fmla="*/ 680 w 932"/>
                <a:gd name="T61" fmla="*/ 325 h 392"/>
                <a:gd name="T62" fmla="*/ 656 w 932"/>
                <a:gd name="T63" fmla="*/ 268 h 392"/>
                <a:gd name="T64" fmla="*/ 789 w 932"/>
                <a:gd name="T65" fmla="*/ 268 h 392"/>
                <a:gd name="T66" fmla="*/ 789 w 932"/>
                <a:gd name="T67" fmla="*/ 258 h 392"/>
                <a:gd name="T68" fmla="*/ 766 w 932"/>
                <a:gd name="T69" fmla="*/ 201 h 392"/>
                <a:gd name="T70" fmla="*/ 753 w 932"/>
                <a:gd name="T71" fmla="*/ 168 h 392"/>
                <a:gd name="T72" fmla="*/ 717 w 932"/>
                <a:gd name="T73" fmla="*/ 124 h 392"/>
                <a:gd name="T74" fmla="*/ 146 w 932"/>
                <a:gd name="T75" fmla="*/ 33 h 392"/>
                <a:gd name="T76" fmla="*/ 859 w 932"/>
                <a:gd name="T77" fmla="*/ 368 h 392"/>
                <a:gd name="T78" fmla="*/ 859 w 932"/>
                <a:gd name="T79" fmla="*/ 358 h 392"/>
                <a:gd name="T80" fmla="*/ 835 w 932"/>
                <a:gd name="T81" fmla="*/ 301 h 392"/>
                <a:gd name="T82" fmla="*/ 823 w 932"/>
                <a:gd name="T83" fmla="*/ 268 h 392"/>
                <a:gd name="T84" fmla="*/ 823 w 932"/>
                <a:gd name="T85" fmla="*/ 258 h 392"/>
                <a:gd name="T86" fmla="*/ 799 w 932"/>
                <a:gd name="T87" fmla="*/ 201 h 392"/>
                <a:gd name="T88" fmla="*/ 932 w 932"/>
                <a:gd name="T89" fmla="*/ 201 h 392"/>
                <a:gd name="T90" fmla="*/ 932 w 932"/>
                <a:gd name="T91" fmla="*/ 191 h 392"/>
                <a:gd name="T92" fmla="*/ 799 w 932"/>
                <a:gd name="T93" fmla="*/ 100 h 392"/>
                <a:gd name="T94" fmla="*/ 823 w 932"/>
                <a:gd name="T95" fmla="*/ 67 h 392"/>
                <a:gd name="T96" fmla="*/ 823 w 932"/>
                <a:gd name="T97" fmla="*/ 24 h 392"/>
                <a:gd name="T98" fmla="*/ 473 w 932"/>
                <a:gd name="T99" fmla="*/ 335 h 392"/>
                <a:gd name="T100" fmla="*/ 460 w 932"/>
                <a:gd name="T101" fmla="*/ 268 h 392"/>
                <a:gd name="T102" fmla="*/ 460 w 932"/>
                <a:gd name="T103" fmla="*/ 225 h 392"/>
                <a:gd name="T104" fmla="*/ 437 w 932"/>
                <a:gd name="T105" fmla="*/ 67 h 392"/>
                <a:gd name="T106" fmla="*/ 568 w 932"/>
                <a:gd name="T107" fmla="*/ 368 h 392"/>
                <a:gd name="T108" fmla="*/ 568 w 932"/>
                <a:gd name="T109" fmla="*/ 325 h 392"/>
                <a:gd name="T110" fmla="*/ 545 w 932"/>
                <a:gd name="T111" fmla="*/ 234 h 392"/>
                <a:gd name="T112" fmla="*/ 532 w 932"/>
                <a:gd name="T113" fmla="*/ 168 h 392"/>
                <a:gd name="T114" fmla="*/ 568 w 932"/>
                <a:gd name="T115" fmla="*/ 90 h 392"/>
                <a:gd name="T116" fmla="*/ 617 w 932"/>
                <a:gd name="T117" fmla="*/ 335 h 392"/>
                <a:gd name="T118" fmla="*/ 604 w 932"/>
                <a:gd name="T119" fmla="*/ 268 h 392"/>
                <a:gd name="T120" fmla="*/ 604 w 932"/>
                <a:gd name="T121" fmla="*/ 225 h 392"/>
                <a:gd name="T122" fmla="*/ 617 w 932"/>
                <a:gd name="T123" fmla="*/ 201 h 392"/>
                <a:gd name="T124" fmla="*/ 641 w 932"/>
                <a:gd name="T12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2" h="392">
                  <a:moveTo>
                    <a:pt x="24" y="368"/>
                  </a:moveTo>
                  <a:cubicBezTo>
                    <a:pt x="0" y="368"/>
                    <a:pt x="0" y="368"/>
                    <a:pt x="0" y="368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24" y="392"/>
                    <a:pt x="24" y="392"/>
                    <a:pt x="24" y="392"/>
                  </a:cubicBezTo>
                  <a:cubicBezTo>
                    <a:pt x="24" y="368"/>
                    <a:pt x="24" y="368"/>
                    <a:pt x="24" y="368"/>
                  </a:cubicBezTo>
                  <a:cubicBezTo>
                    <a:pt x="24" y="368"/>
                    <a:pt x="24" y="368"/>
                    <a:pt x="24" y="368"/>
                  </a:cubicBezTo>
                  <a:close/>
                  <a:moveTo>
                    <a:pt x="61" y="368"/>
                  </a:moveTo>
                  <a:cubicBezTo>
                    <a:pt x="37" y="368"/>
                    <a:pt x="37" y="368"/>
                    <a:pt x="37" y="368"/>
                  </a:cubicBezTo>
                  <a:cubicBezTo>
                    <a:pt x="37" y="392"/>
                    <a:pt x="37" y="392"/>
                    <a:pt x="37" y="392"/>
                  </a:cubicBezTo>
                  <a:cubicBezTo>
                    <a:pt x="61" y="392"/>
                    <a:pt x="61" y="392"/>
                    <a:pt x="61" y="392"/>
                  </a:cubicBezTo>
                  <a:cubicBezTo>
                    <a:pt x="61" y="368"/>
                    <a:pt x="61" y="368"/>
                    <a:pt x="61" y="368"/>
                  </a:cubicBezTo>
                  <a:cubicBezTo>
                    <a:pt x="61" y="368"/>
                    <a:pt x="61" y="368"/>
                    <a:pt x="61" y="368"/>
                  </a:cubicBezTo>
                  <a:close/>
                  <a:moveTo>
                    <a:pt x="97" y="368"/>
                  </a:moveTo>
                  <a:cubicBezTo>
                    <a:pt x="73" y="368"/>
                    <a:pt x="73" y="368"/>
                    <a:pt x="73" y="368"/>
                  </a:cubicBezTo>
                  <a:cubicBezTo>
                    <a:pt x="73" y="392"/>
                    <a:pt x="73" y="392"/>
                    <a:pt x="73" y="392"/>
                  </a:cubicBezTo>
                  <a:cubicBezTo>
                    <a:pt x="97" y="392"/>
                    <a:pt x="97" y="392"/>
                    <a:pt x="97" y="392"/>
                  </a:cubicBezTo>
                  <a:cubicBezTo>
                    <a:pt x="97" y="368"/>
                    <a:pt x="97" y="368"/>
                    <a:pt x="97" y="368"/>
                  </a:cubicBezTo>
                  <a:cubicBezTo>
                    <a:pt x="97" y="368"/>
                    <a:pt x="97" y="368"/>
                    <a:pt x="97" y="368"/>
                  </a:cubicBezTo>
                  <a:close/>
                  <a:moveTo>
                    <a:pt x="133" y="368"/>
                  </a:moveTo>
                  <a:cubicBezTo>
                    <a:pt x="109" y="368"/>
                    <a:pt x="109" y="368"/>
                    <a:pt x="109" y="368"/>
                  </a:cubicBezTo>
                  <a:cubicBezTo>
                    <a:pt x="109" y="392"/>
                    <a:pt x="109" y="392"/>
                    <a:pt x="109" y="392"/>
                  </a:cubicBezTo>
                  <a:cubicBezTo>
                    <a:pt x="133" y="392"/>
                    <a:pt x="133" y="392"/>
                    <a:pt x="133" y="392"/>
                  </a:cubicBezTo>
                  <a:cubicBezTo>
                    <a:pt x="133" y="368"/>
                    <a:pt x="133" y="368"/>
                    <a:pt x="133" y="368"/>
                  </a:cubicBezTo>
                  <a:cubicBezTo>
                    <a:pt x="133" y="368"/>
                    <a:pt x="133" y="368"/>
                    <a:pt x="133" y="368"/>
                  </a:cubicBezTo>
                  <a:close/>
                  <a:moveTo>
                    <a:pt x="170" y="368"/>
                  </a:moveTo>
                  <a:cubicBezTo>
                    <a:pt x="146" y="368"/>
                    <a:pt x="146" y="368"/>
                    <a:pt x="146" y="368"/>
                  </a:cubicBezTo>
                  <a:cubicBezTo>
                    <a:pt x="146" y="392"/>
                    <a:pt x="146" y="392"/>
                    <a:pt x="146" y="392"/>
                  </a:cubicBezTo>
                  <a:cubicBezTo>
                    <a:pt x="170" y="392"/>
                    <a:pt x="170" y="392"/>
                    <a:pt x="170" y="392"/>
                  </a:cubicBezTo>
                  <a:cubicBezTo>
                    <a:pt x="170" y="368"/>
                    <a:pt x="170" y="368"/>
                    <a:pt x="170" y="368"/>
                  </a:cubicBezTo>
                  <a:cubicBezTo>
                    <a:pt x="170" y="368"/>
                    <a:pt x="170" y="368"/>
                    <a:pt x="170" y="368"/>
                  </a:cubicBezTo>
                  <a:close/>
                  <a:moveTo>
                    <a:pt x="206" y="368"/>
                  </a:moveTo>
                  <a:cubicBezTo>
                    <a:pt x="182" y="368"/>
                    <a:pt x="182" y="368"/>
                    <a:pt x="182" y="368"/>
                  </a:cubicBezTo>
                  <a:cubicBezTo>
                    <a:pt x="182" y="392"/>
                    <a:pt x="182" y="392"/>
                    <a:pt x="182" y="392"/>
                  </a:cubicBezTo>
                  <a:cubicBezTo>
                    <a:pt x="206" y="392"/>
                    <a:pt x="206" y="392"/>
                    <a:pt x="206" y="392"/>
                  </a:cubicBezTo>
                  <a:cubicBezTo>
                    <a:pt x="206" y="368"/>
                    <a:pt x="206" y="368"/>
                    <a:pt x="206" y="368"/>
                  </a:cubicBezTo>
                  <a:cubicBezTo>
                    <a:pt x="206" y="368"/>
                    <a:pt x="206" y="368"/>
                    <a:pt x="206" y="368"/>
                  </a:cubicBezTo>
                  <a:close/>
                  <a:moveTo>
                    <a:pt x="243" y="368"/>
                  </a:moveTo>
                  <a:cubicBezTo>
                    <a:pt x="219" y="368"/>
                    <a:pt x="219" y="368"/>
                    <a:pt x="219" y="368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43" y="392"/>
                    <a:pt x="243" y="392"/>
                    <a:pt x="243" y="392"/>
                  </a:cubicBezTo>
                  <a:cubicBezTo>
                    <a:pt x="243" y="368"/>
                    <a:pt x="243" y="368"/>
                    <a:pt x="243" y="368"/>
                  </a:cubicBezTo>
                  <a:cubicBezTo>
                    <a:pt x="243" y="368"/>
                    <a:pt x="243" y="368"/>
                    <a:pt x="243" y="368"/>
                  </a:cubicBezTo>
                  <a:close/>
                  <a:moveTo>
                    <a:pt x="279" y="368"/>
                  </a:moveTo>
                  <a:cubicBezTo>
                    <a:pt x="255" y="368"/>
                    <a:pt x="255" y="368"/>
                    <a:pt x="255" y="368"/>
                  </a:cubicBezTo>
                  <a:cubicBezTo>
                    <a:pt x="255" y="392"/>
                    <a:pt x="255" y="392"/>
                    <a:pt x="255" y="392"/>
                  </a:cubicBezTo>
                  <a:cubicBezTo>
                    <a:pt x="279" y="392"/>
                    <a:pt x="279" y="392"/>
                    <a:pt x="279" y="392"/>
                  </a:cubicBezTo>
                  <a:cubicBezTo>
                    <a:pt x="279" y="368"/>
                    <a:pt x="279" y="368"/>
                    <a:pt x="279" y="368"/>
                  </a:cubicBezTo>
                  <a:cubicBezTo>
                    <a:pt x="279" y="368"/>
                    <a:pt x="279" y="368"/>
                    <a:pt x="279" y="368"/>
                  </a:cubicBezTo>
                  <a:close/>
                  <a:moveTo>
                    <a:pt x="315" y="368"/>
                  </a:moveTo>
                  <a:cubicBezTo>
                    <a:pt x="292" y="368"/>
                    <a:pt x="292" y="368"/>
                    <a:pt x="292" y="368"/>
                  </a:cubicBezTo>
                  <a:cubicBezTo>
                    <a:pt x="292" y="392"/>
                    <a:pt x="292" y="392"/>
                    <a:pt x="292" y="392"/>
                  </a:cubicBezTo>
                  <a:cubicBezTo>
                    <a:pt x="315" y="392"/>
                    <a:pt x="315" y="392"/>
                    <a:pt x="315" y="392"/>
                  </a:cubicBezTo>
                  <a:cubicBezTo>
                    <a:pt x="315" y="368"/>
                    <a:pt x="315" y="368"/>
                    <a:pt x="315" y="368"/>
                  </a:cubicBezTo>
                  <a:cubicBezTo>
                    <a:pt x="315" y="368"/>
                    <a:pt x="315" y="368"/>
                    <a:pt x="315" y="368"/>
                  </a:cubicBezTo>
                  <a:close/>
                  <a:moveTo>
                    <a:pt x="352" y="368"/>
                  </a:moveTo>
                  <a:cubicBezTo>
                    <a:pt x="328" y="368"/>
                    <a:pt x="328" y="368"/>
                    <a:pt x="328" y="368"/>
                  </a:cubicBezTo>
                  <a:cubicBezTo>
                    <a:pt x="328" y="392"/>
                    <a:pt x="328" y="392"/>
                    <a:pt x="328" y="392"/>
                  </a:cubicBezTo>
                  <a:cubicBezTo>
                    <a:pt x="352" y="392"/>
                    <a:pt x="352" y="392"/>
                    <a:pt x="352" y="392"/>
                  </a:cubicBezTo>
                  <a:cubicBezTo>
                    <a:pt x="352" y="368"/>
                    <a:pt x="352" y="368"/>
                    <a:pt x="352" y="368"/>
                  </a:cubicBezTo>
                  <a:cubicBezTo>
                    <a:pt x="352" y="368"/>
                    <a:pt x="352" y="368"/>
                    <a:pt x="352" y="368"/>
                  </a:cubicBezTo>
                  <a:close/>
                  <a:moveTo>
                    <a:pt x="388" y="368"/>
                  </a:moveTo>
                  <a:cubicBezTo>
                    <a:pt x="364" y="368"/>
                    <a:pt x="364" y="368"/>
                    <a:pt x="364" y="368"/>
                  </a:cubicBezTo>
                  <a:cubicBezTo>
                    <a:pt x="364" y="392"/>
                    <a:pt x="364" y="392"/>
                    <a:pt x="364" y="392"/>
                  </a:cubicBezTo>
                  <a:cubicBezTo>
                    <a:pt x="388" y="392"/>
                    <a:pt x="388" y="392"/>
                    <a:pt x="388" y="392"/>
                  </a:cubicBezTo>
                  <a:cubicBezTo>
                    <a:pt x="388" y="368"/>
                    <a:pt x="388" y="368"/>
                    <a:pt x="388" y="368"/>
                  </a:cubicBezTo>
                  <a:cubicBezTo>
                    <a:pt x="388" y="368"/>
                    <a:pt x="388" y="368"/>
                    <a:pt x="388" y="368"/>
                  </a:cubicBezTo>
                  <a:close/>
                  <a:moveTo>
                    <a:pt x="425" y="368"/>
                  </a:moveTo>
                  <a:cubicBezTo>
                    <a:pt x="401" y="368"/>
                    <a:pt x="401" y="368"/>
                    <a:pt x="401" y="368"/>
                  </a:cubicBezTo>
                  <a:cubicBezTo>
                    <a:pt x="401" y="392"/>
                    <a:pt x="401" y="392"/>
                    <a:pt x="401" y="392"/>
                  </a:cubicBezTo>
                  <a:cubicBezTo>
                    <a:pt x="425" y="392"/>
                    <a:pt x="425" y="392"/>
                    <a:pt x="425" y="392"/>
                  </a:cubicBezTo>
                  <a:cubicBezTo>
                    <a:pt x="425" y="368"/>
                    <a:pt x="425" y="368"/>
                    <a:pt x="425" y="368"/>
                  </a:cubicBezTo>
                  <a:cubicBezTo>
                    <a:pt x="425" y="368"/>
                    <a:pt x="425" y="368"/>
                    <a:pt x="425" y="368"/>
                  </a:cubicBezTo>
                  <a:close/>
                  <a:moveTo>
                    <a:pt x="24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24" y="358"/>
                    <a:pt x="24" y="358"/>
                    <a:pt x="24" y="358"/>
                  </a:cubicBezTo>
                  <a:cubicBezTo>
                    <a:pt x="24" y="335"/>
                    <a:pt x="24" y="335"/>
                    <a:pt x="24" y="335"/>
                  </a:cubicBezTo>
                  <a:cubicBezTo>
                    <a:pt x="24" y="335"/>
                    <a:pt x="24" y="335"/>
                    <a:pt x="24" y="335"/>
                  </a:cubicBezTo>
                  <a:close/>
                  <a:moveTo>
                    <a:pt x="61" y="335"/>
                  </a:moveTo>
                  <a:cubicBezTo>
                    <a:pt x="37" y="335"/>
                    <a:pt x="37" y="335"/>
                    <a:pt x="37" y="335"/>
                  </a:cubicBezTo>
                  <a:cubicBezTo>
                    <a:pt x="37" y="358"/>
                    <a:pt x="37" y="358"/>
                    <a:pt x="37" y="358"/>
                  </a:cubicBezTo>
                  <a:cubicBezTo>
                    <a:pt x="61" y="358"/>
                    <a:pt x="61" y="358"/>
                    <a:pt x="61" y="358"/>
                  </a:cubicBezTo>
                  <a:cubicBezTo>
                    <a:pt x="61" y="335"/>
                    <a:pt x="61" y="335"/>
                    <a:pt x="61" y="335"/>
                  </a:cubicBezTo>
                  <a:cubicBezTo>
                    <a:pt x="61" y="335"/>
                    <a:pt x="61" y="335"/>
                    <a:pt x="61" y="335"/>
                  </a:cubicBezTo>
                  <a:close/>
                  <a:moveTo>
                    <a:pt x="97" y="335"/>
                  </a:moveTo>
                  <a:cubicBezTo>
                    <a:pt x="73" y="335"/>
                    <a:pt x="73" y="335"/>
                    <a:pt x="73" y="335"/>
                  </a:cubicBezTo>
                  <a:cubicBezTo>
                    <a:pt x="73" y="358"/>
                    <a:pt x="73" y="358"/>
                    <a:pt x="73" y="358"/>
                  </a:cubicBezTo>
                  <a:cubicBezTo>
                    <a:pt x="97" y="358"/>
                    <a:pt x="97" y="358"/>
                    <a:pt x="97" y="358"/>
                  </a:cubicBezTo>
                  <a:cubicBezTo>
                    <a:pt x="97" y="335"/>
                    <a:pt x="97" y="335"/>
                    <a:pt x="97" y="335"/>
                  </a:cubicBezTo>
                  <a:cubicBezTo>
                    <a:pt x="97" y="335"/>
                    <a:pt x="97" y="335"/>
                    <a:pt x="97" y="335"/>
                  </a:cubicBezTo>
                  <a:close/>
                  <a:moveTo>
                    <a:pt x="133" y="335"/>
                  </a:moveTo>
                  <a:cubicBezTo>
                    <a:pt x="109" y="335"/>
                    <a:pt x="109" y="335"/>
                    <a:pt x="109" y="335"/>
                  </a:cubicBezTo>
                  <a:cubicBezTo>
                    <a:pt x="109" y="358"/>
                    <a:pt x="109" y="358"/>
                    <a:pt x="109" y="358"/>
                  </a:cubicBezTo>
                  <a:cubicBezTo>
                    <a:pt x="133" y="358"/>
                    <a:pt x="133" y="358"/>
                    <a:pt x="133" y="358"/>
                  </a:cubicBezTo>
                  <a:cubicBezTo>
                    <a:pt x="133" y="335"/>
                    <a:pt x="133" y="335"/>
                    <a:pt x="133" y="335"/>
                  </a:cubicBezTo>
                  <a:cubicBezTo>
                    <a:pt x="133" y="335"/>
                    <a:pt x="133" y="335"/>
                    <a:pt x="133" y="335"/>
                  </a:cubicBezTo>
                  <a:close/>
                  <a:moveTo>
                    <a:pt x="170" y="335"/>
                  </a:moveTo>
                  <a:cubicBezTo>
                    <a:pt x="146" y="335"/>
                    <a:pt x="146" y="335"/>
                    <a:pt x="146" y="335"/>
                  </a:cubicBezTo>
                  <a:cubicBezTo>
                    <a:pt x="146" y="358"/>
                    <a:pt x="146" y="358"/>
                    <a:pt x="146" y="358"/>
                  </a:cubicBezTo>
                  <a:cubicBezTo>
                    <a:pt x="170" y="358"/>
                    <a:pt x="170" y="358"/>
                    <a:pt x="170" y="358"/>
                  </a:cubicBezTo>
                  <a:cubicBezTo>
                    <a:pt x="170" y="335"/>
                    <a:pt x="170" y="335"/>
                    <a:pt x="170" y="335"/>
                  </a:cubicBezTo>
                  <a:cubicBezTo>
                    <a:pt x="170" y="335"/>
                    <a:pt x="170" y="335"/>
                    <a:pt x="170" y="335"/>
                  </a:cubicBezTo>
                  <a:close/>
                  <a:moveTo>
                    <a:pt x="206" y="335"/>
                  </a:moveTo>
                  <a:cubicBezTo>
                    <a:pt x="182" y="335"/>
                    <a:pt x="182" y="335"/>
                    <a:pt x="182" y="335"/>
                  </a:cubicBezTo>
                  <a:cubicBezTo>
                    <a:pt x="182" y="358"/>
                    <a:pt x="182" y="358"/>
                    <a:pt x="182" y="358"/>
                  </a:cubicBezTo>
                  <a:cubicBezTo>
                    <a:pt x="206" y="358"/>
                    <a:pt x="206" y="358"/>
                    <a:pt x="206" y="358"/>
                  </a:cubicBezTo>
                  <a:cubicBezTo>
                    <a:pt x="206" y="335"/>
                    <a:pt x="206" y="335"/>
                    <a:pt x="206" y="335"/>
                  </a:cubicBezTo>
                  <a:cubicBezTo>
                    <a:pt x="206" y="335"/>
                    <a:pt x="206" y="335"/>
                    <a:pt x="206" y="335"/>
                  </a:cubicBezTo>
                  <a:close/>
                  <a:moveTo>
                    <a:pt x="243" y="335"/>
                  </a:moveTo>
                  <a:cubicBezTo>
                    <a:pt x="219" y="335"/>
                    <a:pt x="219" y="335"/>
                    <a:pt x="219" y="335"/>
                  </a:cubicBezTo>
                  <a:cubicBezTo>
                    <a:pt x="219" y="358"/>
                    <a:pt x="219" y="358"/>
                    <a:pt x="219" y="358"/>
                  </a:cubicBezTo>
                  <a:cubicBezTo>
                    <a:pt x="243" y="358"/>
                    <a:pt x="243" y="358"/>
                    <a:pt x="243" y="358"/>
                  </a:cubicBezTo>
                  <a:cubicBezTo>
                    <a:pt x="243" y="335"/>
                    <a:pt x="243" y="335"/>
                    <a:pt x="243" y="335"/>
                  </a:cubicBezTo>
                  <a:cubicBezTo>
                    <a:pt x="243" y="335"/>
                    <a:pt x="243" y="335"/>
                    <a:pt x="243" y="335"/>
                  </a:cubicBezTo>
                  <a:close/>
                  <a:moveTo>
                    <a:pt x="279" y="335"/>
                  </a:moveTo>
                  <a:cubicBezTo>
                    <a:pt x="255" y="335"/>
                    <a:pt x="255" y="335"/>
                    <a:pt x="255" y="335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79" y="358"/>
                    <a:pt x="279" y="358"/>
                    <a:pt x="279" y="358"/>
                  </a:cubicBezTo>
                  <a:cubicBezTo>
                    <a:pt x="279" y="335"/>
                    <a:pt x="279" y="335"/>
                    <a:pt x="279" y="335"/>
                  </a:cubicBezTo>
                  <a:cubicBezTo>
                    <a:pt x="279" y="335"/>
                    <a:pt x="279" y="335"/>
                    <a:pt x="279" y="335"/>
                  </a:cubicBezTo>
                  <a:close/>
                  <a:moveTo>
                    <a:pt x="315" y="335"/>
                  </a:moveTo>
                  <a:cubicBezTo>
                    <a:pt x="292" y="335"/>
                    <a:pt x="292" y="335"/>
                    <a:pt x="292" y="33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315" y="358"/>
                    <a:pt x="315" y="358"/>
                    <a:pt x="315" y="358"/>
                  </a:cubicBezTo>
                  <a:cubicBezTo>
                    <a:pt x="315" y="335"/>
                    <a:pt x="315" y="335"/>
                    <a:pt x="315" y="335"/>
                  </a:cubicBezTo>
                  <a:cubicBezTo>
                    <a:pt x="315" y="335"/>
                    <a:pt x="315" y="335"/>
                    <a:pt x="315" y="335"/>
                  </a:cubicBezTo>
                  <a:close/>
                  <a:moveTo>
                    <a:pt x="352" y="335"/>
                  </a:moveTo>
                  <a:cubicBezTo>
                    <a:pt x="328" y="335"/>
                    <a:pt x="328" y="335"/>
                    <a:pt x="328" y="335"/>
                  </a:cubicBezTo>
                  <a:cubicBezTo>
                    <a:pt x="328" y="358"/>
                    <a:pt x="328" y="358"/>
                    <a:pt x="328" y="358"/>
                  </a:cubicBezTo>
                  <a:cubicBezTo>
                    <a:pt x="352" y="358"/>
                    <a:pt x="352" y="358"/>
                    <a:pt x="352" y="358"/>
                  </a:cubicBezTo>
                  <a:cubicBezTo>
                    <a:pt x="352" y="335"/>
                    <a:pt x="352" y="335"/>
                    <a:pt x="352" y="335"/>
                  </a:cubicBezTo>
                  <a:cubicBezTo>
                    <a:pt x="352" y="335"/>
                    <a:pt x="352" y="335"/>
                    <a:pt x="352" y="335"/>
                  </a:cubicBezTo>
                  <a:close/>
                  <a:moveTo>
                    <a:pt x="388" y="335"/>
                  </a:moveTo>
                  <a:cubicBezTo>
                    <a:pt x="364" y="335"/>
                    <a:pt x="364" y="335"/>
                    <a:pt x="364" y="335"/>
                  </a:cubicBezTo>
                  <a:cubicBezTo>
                    <a:pt x="364" y="358"/>
                    <a:pt x="364" y="358"/>
                    <a:pt x="364" y="358"/>
                  </a:cubicBezTo>
                  <a:cubicBezTo>
                    <a:pt x="388" y="358"/>
                    <a:pt x="388" y="358"/>
                    <a:pt x="388" y="358"/>
                  </a:cubicBezTo>
                  <a:cubicBezTo>
                    <a:pt x="388" y="335"/>
                    <a:pt x="388" y="335"/>
                    <a:pt x="388" y="335"/>
                  </a:cubicBezTo>
                  <a:cubicBezTo>
                    <a:pt x="388" y="335"/>
                    <a:pt x="388" y="335"/>
                    <a:pt x="388" y="335"/>
                  </a:cubicBezTo>
                  <a:close/>
                  <a:moveTo>
                    <a:pt x="425" y="335"/>
                  </a:moveTo>
                  <a:cubicBezTo>
                    <a:pt x="401" y="335"/>
                    <a:pt x="401" y="335"/>
                    <a:pt x="401" y="335"/>
                  </a:cubicBezTo>
                  <a:cubicBezTo>
                    <a:pt x="401" y="358"/>
                    <a:pt x="401" y="358"/>
                    <a:pt x="401" y="358"/>
                  </a:cubicBezTo>
                  <a:cubicBezTo>
                    <a:pt x="425" y="358"/>
                    <a:pt x="425" y="358"/>
                    <a:pt x="425" y="358"/>
                  </a:cubicBezTo>
                  <a:cubicBezTo>
                    <a:pt x="425" y="335"/>
                    <a:pt x="425" y="335"/>
                    <a:pt x="425" y="335"/>
                  </a:cubicBezTo>
                  <a:cubicBezTo>
                    <a:pt x="425" y="335"/>
                    <a:pt x="425" y="335"/>
                    <a:pt x="425" y="335"/>
                  </a:cubicBezTo>
                  <a:close/>
                  <a:moveTo>
                    <a:pt x="24" y="301"/>
                  </a:moveTo>
                  <a:cubicBezTo>
                    <a:pt x="0" y="301"/>
                    <a:pt x="0" y="301"/>
                    <a:pt x="0" y="301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24" y="325"/>
                    <a:pt x="24" y="325"/>
                    <a:pt x="24" y="325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4" y="301"/>
                    <a:pt x="24" y="301"/>
                    <a:pt x="24" y="301"/>
                  </a:cubicBezTo>
                  <a:close/>
                  <a:moveTo>
                    <a:pt x="61" y="301"/>
                  </a:moveTo>
                  <a:cubicBezTo>
                    <a:pt x="37" y="301"/>
                    <a:pt x="37" y="301"/>
                    <a:pt x="37" y="301"/>
                  </a:cubicBezTo>
                  <a:cubicBezTo>
                    <a:pt x="37" y="325"/>
                    <a:pt x="37" y="325"/>
                    <a:pt x="37" y="325"/>
                  </a:cubicBezTo>
                  <a:cubicBezTo>
                    <a:pt x="61" y="325"/>
                    <a:pt x="61" y="325"/>
                    <a:pt x="61" y="325"/>
                  </a:cubicBezTo>
                  <a:cubicBezTo>
                    <a:pt x="61" y="301"/>
                    <a:pt x="61" y="301"/>
                    <a:pt x="61" y="301"/>
                  </a:cubicBezTo>
                  <a:cubicBezTo>
                    <a:pt x="61" y="301"/>
                    <a:pt x="61" y="301"/>
                    <a:pt x="61" y="301"/>
                  </a:cubicBezTo>
                  <a:close/>
                  <a:moveTo>
                    <a:pt x="97" y="301"/>
                  </a:moveTo>
                  <a:cubicBezTo>
                    <a:pt x="73" y="301"/>
                    <a:pt x="73" y="301"/>
                    <a:pt x="73" y="301"/>
                  </a:cubicBezTo>
                  <a:cubicBezTo>
                    <a:pt x="73" y="325"/>
                    <a:pt x="73" y="325"/>
                    <a:pt x="73" y="325"/>
                  </a:cubicBezTo>
                  <a:cubicBezTo>
                    <a:pt x="97" y="325"/>
                    <a:pt x="97" y="325"/>
                    <a:pt x="97" y="325"/>
                  </a:cubicBezTo>
                  <a:cubicBezTo>
                    <a:pt x="97" y="301"/>
                    <a:pt x="97" y="301"/>
                    <a:pt x="97" y="301"/>
                  </a:cubicBezTo>
                  <a:cubicBezTo>
                    <a:pt x="97" y="301"/>
                    <a:pt x="97" y="301"/>
                    <a:pt x="97" y="301"/>
                  </a:cubicBezTo>
                  <a:close/>
                  <a:moveTo>
                    <a:pt x="133" y="301"/>
                  </a:moveTo>
                  <a:cubicBezTo>
                    <a:pt x="109" y="301"/>
                    <a:pt x="109" y="301"/>
                    <a:pt x="109" y="301"/>
                  </a:cubicBezTo>
                  <a:cubicBezTo>
                    <a:pt x="109" y="325"/>
                    <a:pt x="109" y="325"/>
                    <a:pt x="109" y="325"/>
                  </a:cubicBezTo>
                  <a:cubicBezTo>
                    <a:pt x="133" y="325"/>
                    <a:pt x="133" y="325"/>
                    <a:pt x="133" y="325"/>
                  </a:cubicBezTo>
                  <a:cubicBezTo>
                    <a:pt x="133" y="301"/>
                    <a:pt x="133" y="301"/>
                    <a:pt x="133" y="301"/>
                  </a:cubicBezTo>
                  <a:cubicBezTo>
                    <a:pt x="133" y="301"/>
                    <a:pt x="133" y="301"/>
                    <a:pt x="133" y="301"/>
                  </a:cubicBezTo>
                  <a:close/>
                  <a:moveTo>
                    <a:pt x="170" y="301"/>
                  </a:moveTo>
                  <a:cubicBezTo>
                    <a:pt x="146" y="301"/>
                    <a:pt x="146" y="301"/>
                    <a:pt x="146" y="301"/>
                  </a:cubicBezTo>
                  <a:cubicBezTo>
                    <a:pt x="146" y="325"/>
                    <a:pt x="146" y="325"/>
                    <a:pt x="146" y="325"/>
                  </a:cubicBezTo>
                  <a:cubicBezTo>
                    <a:pt x="170" y="325"/>
                    <a:pt x="170" y="325"/>
                    <a:pt x="170" y="325"/>
                  </a:cubicBezTo>
                  <a:cubicBezTo>
                    <a:pt x="170" y="301"/>
                    <a:pt x="170" y="301"/>
                    <a:pt x="170" y="301"/>
                  </a:cubicBezTo>
                  <a:cubicBezTo>
                    <a:pt x="170" y="301"/>
                    <a:pt x="170" y="301"/>
                    <a:pt x="170" y="301"/>
                  </a:cubicBezTo>
                  <a:close/>
                  <a:moveTo>
                    <a:pt x="206" y="301"/>
                  </a:moveTo>
                  <a:cubicBezTo>
                    <a:pt x="182" y="301"/>
                    <a:pt x="182" y="301"/>
                    <a:pt x="182" y="301"/>
                  </a:cubicBezTo>
                  <a:cubicBezTo>
                    <a:pt x="182" y="325"/>
                    <a:pt x="182" y="325"/>
                    <a:pt x="182" y="325"/>
                  </a:cubicBezTo>
                  <a:cubicBezTo>
                    <a:pt x="206" y="325"/>
                    <a:pt x="206" y="325"/>
                    <a:pt x="206" y="325"/>
                  </a:cubicBezTo>
                  <a:cubicBezTo>
                    <a:pt x="206" y="301"/>
                    <a:pt x="206" y="301"/>
                    <a:pt x="206" y="301"/>
                  </a:cubicBezTo>
                  <a:cubicBezTo>
                    <a:pt x="206" y="301"/>
                    <a:pt x="206" y="301"/>
                    <a:pt x="206" y="301"/>
                  </a:cubicBezTo>
                  <a:close/>
                  <a:moveTo>
                    <a:pt x="243" y="301"/>
                  </a:moveTo>
                  <a:cubicBezTo>
                    <a:pt x="219" y="301"/>
                    <a:pt x="219" y="301"/>
                    <a:pt x="219" y="301"/>
                  </a:cubicBezTo>
                  <a:cubicBezTo>
                    <a:pt x="219" y="325"/>
                    <a:pt x="219" y="325"/>
                    <a:pt x="219" y="325"/>
                  </a:cubicBezTo>
                  <a:cubicBezTo>
                    <a:pt x="243" y="325"/>
                    <a:pt x="243" y="325"/>
                    <a:pt x="243" y="325"/>
                  </a:cubicBezTo>
                  <a:cubicBezTo>
                    <a:pt x="243" y="301"/>
                    <a:pt x="243" y="301"/>
                    <a:pt x="243" y="301"/>
                  </a:cubicBezTo>
                  <a:cubicBezTo>
                    <a:pt x="243" y="301"/>
                    <a:pt x="243" y="301"/>
                    <a:pt x="243" y="301"/>
                  </a:cubicBezTo>
                  <a:close/>
                  <a:moveTo>
                    <a:pt x="279" y="301"/>
                  </a:moveTo>
                  <a:cubicBezTo>
                    <a:pt x="255" y="301"/>
                    <a:pt x="255" y="301"/>
                    <a:pt x="255" y="301"/>
                  </a:cubicBezTo>
                  <a:cubicBezTo>
                    <a:pt x="255" y="325"/>
                    <a:pt x="255" y="325"/>
                    <a:pt x="255" y="325"/>
                  </a:cubicBezTo>
                  <a:cubicBezTo>
                    <a:pt x="279" y="325"/>
                    <a:pt x="279" y="325"/>
                    <a:pt x="279" y="325"/>
                  </a:cubicBezTo>
                  <a:cubicBezTo>
                    <a:pt x="279" y="301"/>
                    <a:pt x="279" y="301"/>
                    <a:pt x="279" y="301"/>
                  </a:cubicBezTo>
                  <a:cubicBezTo>
                    <a:pt x="279" y="301"/>
                    <a:pt x="279" y="301"/>
                    <a:pt x="279" y="301"/>
                  </a:cubicBezTo>
                  <a:close/>
                  <a:moveTo>
                    <a:pt x="315" y="301"/>
                  </a:moveTo>
                  <a:cubicBezTo>
                    <a:pt x="292" y="301"/>
                    <a:pt x="292" y="301"/>
                    <a:pt x="292" y="301"/>
                  </a:cubicBezTo>
                  <a:cubicBezTo>
                    <a:pt x="292" y="325"/>
                    <a:pt x="292" y="325"/>
                    <a:pt x="292" y="325"/>
                  </a:cubicBezTo>
                  <a:cubicBezTo>
                    <a:pt x="315" y="325"/>
                    <a:pt x="315" y="325"/>
                    <a:pt x="315" y="325"/>
                  </a:cubicBezTo>
                  <a:cubicBezTo>
                    <a:pt x="315" y="301"/>
                    <a:pt x="315" y="301"/>
                    <a:pt x="315" y="301"/>
                  </a:cubicBezTo>
                  <a:cubicBezTo>
                    <a:pt x="315" y="301"/>
                    <a:pt x="315" y="301"/>
                    <a:pt x="315" y="301"/>
                  </a:cubicBezTo>
                  <a:close/>
                  <a:moveTo>
                    <a:pt x="352" y="301"/>
                  </a:moveTo>
                  <a:cubicBezTo>
                    <a:pt x="328" y="301"/>
                    <a:pt x="328" y="301"/>
                    <a:pt x="328" y="301"/>
                  </a:cubicBezTo>
                  <a:cubicBezTo>
                    <a:pt x="328" y="325"/>
                    <a:pt x="328" y="325"/>
                    <a:pt x="328" y="325"/>
                  </a:cubicBezTo>
                  <a:cubicBezTo>
                    <a:pt x="352" y="325"/>
                    <a:pt x="352" y="325"/>
                    <a:pt x="352" y="325"/>
                  </a:cubicBezTo>
                  <a:cubicBezTo>
                    <a:pt x="352" y="301"/>
                    <a:pt x="352" y="301"/>
                    <a:pt x="352" y="301"/>
                  </a:cubicBezTo>
                  <a:cubicBezTo>
                    <a:pt x="352" y="301"/>
                    <a:pt x="352" y="301"/>
                    <a:pt x="352" y="301"/>
                  </a:cubicBezTo>
                  <a:close/>
                  <a:moveTo>
                    <a:pt x="388" y="301"/>
                  </a:moveTo>
                  <a:cubicBezTo>
                    <a:pt x="364" y="301"/>
                    <a:pt x="364" y="301"/>
                    <a:pt x="364" y="301"/>
                  </a:cubicBezTo>
                  <a:cubicBezTo>
                    <a:pt x="364" y="325"/>
                    <a:pt x="364" y="325"/>
                    <a:pt x="364" y="325"/>
                  </a:cubicBezTo>
                  <a:cubicBezTo>
                    <a:pt x="388" y="325"/>
                    <a:pt x="388" y="325"/>
                    <a:pt x="388" y="325"/>
                  </a:cubicBezTo>
                  <a:cubicBezTo>
                    <a:pt x="388" y="301"/>
                    <a:pt x="388" y="301"/>
                    <a:pt x="388" y="301"/>
                  </a:cubicBezTo>
                  <a:cubicBezTo>
                    <a:pt x="388" y="301"/>
                    <a:pt x="388" y="301"/>
                    <a:pt x="388" y="301"/>
                  </a:cubicBezTo>
                  <a:close/>
                  <a:moveTo>
                    <a:pt x="425" y="301"/>
                  </a:moveTo>
                  <a:cubicBezTo>
                    <a:pt x="401" y="301"/>
                    <a:pt x="401" y="301"/>
                    <a:pt x="401" y="301"/>
                  </a:cubicBezTo>
                  <a:cubicBezTo>
                    <a:pt x="401" y="325"/>
                    <a:pt x="401" y="325"/>
                    <a:pt x="401" y="325"/>
                  </a:cubicBezTo>
                  <a:cubicBezTo>
                    <a:pt x="425" y="325"/>
                    <a:pt x="425" y="325"/>
                    <a:pt x="425" y="325"/>
                  </a:cubicBezTo>
                  <a:cubicBezTo>
                    <a:pt x="425" y="301"/>
                    <a:pt x="425" y="301"/>
                    <a:pt x="425" y="301"/>
                  </a:cubicBezTo>
                  <a:cubicBezTo>
                    <a:pt x="425" y="301"/>
                    <a:pt x="425" y="301"/>
                    <a:pt x="425" y="301"/>
                  </a:cubicBezTo>
                  <a:close/>
                  <a:moveTo>
                    <a:pt x="24" y="268"/>
                  </a:moveTo>
                  <a:cubicBezTo>
                    <a:pt x="0" y="268"/>
                    <a:pt x="0" y="268"/>
                    <a:pt x="0" y="268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24" y="291"/>
                    <a:pt x="24" y="291"/>
                    <a:pt x="24" y="291"/>
                  </a:cubicBezTo>
                  <a:cubicBezTo>
                    <a:pt x="24" y="268"/>
                    <a:pt x="24" y="268"/>
                    <a:pt x="24" y="268"/>
                  </a:cubicBezTo>
                  <a:cubicBezTo>
                    <a:pt x="24" y="268"/>
                    <a:pt x="24" y="268"/>
                    <a:pt x="24" y="268"/>
                  </a:cubicBezTo>
                  <a:close/>
                  <a:moveTo>
                    <a:pt x="61" y="268"/>
                  </a:moveTo>
                  <a:cubicBezTo>
                    <a:pt x="37" y="268"/>
                    <a:pt x="37" y="268"/>
                    <a:pt x="37" y="268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61" y="291"/>
                    <a:pt x="61" y="291"/>
                    <a:pt x="61" y="291"/>
                  </a:cubicBezTo>
                  <a:cubicBezTo>
                    <a:pt x="61" y="268"/>
                    <a:pt x="61" y="268"/>
                    <a:pt x="61" y="268"/>
                  </a:cubicBezTo>
                  <a:cubicBezTo>
                    <a:pt x="61" y="268"/>
                    <a:pt x="61" y="268"/>
                    <a:pt x="61" y="268"/>
                  </a:cubicBezTo>
                  <a:close/>
                  <a:moveTo>
                    <a:pt x="97" y="268"/>
                  </a:moveTo>
                  <a:cubicBezTo>
                    <a:pt x="73" y="268"/>
                    <a:pt x="73" y="268"/>
                    <a:pt x="73" y="268"/>
                  </a:cubicBezTo>
                  <a:cubicBezTo>
                    <a:pt x="73" y="291"/>
                    <a:pt x="73" y="291"/>
                    <a:pt x="73" y="291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97" y="268"/>
                    <a:pt x="97" y="268"/>
                    <a:pt x="97" y="268"/>
                  </a:cubicBezTo>
                  <a:cubicBezTo>
                    <a:pt x="97" y="268"/>
                    <a:pt x="97" y="268"/>
                    <a:pt x="97" y="268"/>
                  </a:cubicBezTo>
                  <a:close/>
                  <a:moveTo>
                    <a:pt x="133" y="268"/>
                  </a:moveTo>
                  <a:cubicBezTo>
                    <a:pt x="109" y="268"/>
                    <a:pt x="109" y="268"/>
                    <a:pt x="109" y="268"/>
                  </a:cubicBezTo>
                  <a:cubicBezTo>
                    <a:pt x="109" y="291"/>
                    <a:pt x="109" y="291"/>
                    <a:pt x="109" y="291"/>
                  </a:cubicBezTo>
                  <a:cubicBezTo>
                    <a:pt x="133" y="291"/>
                    <a:pt x="133" y="291"/>
                    <a:pt x="133" y="291"/>
                  </a:cubicBezTo>
                  <a:cubicBezTo>
                    <a:pt x="133" y="268"/>
                    <a:pt x="133" y="268"/>
                    <a:pt x="133" y="268"/>
                  </a:cubicBezTo>
                  <a:cubicBezTo>
                    <a:pt x="133" y="268"/>
                    <a:pt x="133" y="268"/>
                    <a:pt x="133" y="268"/>
                  </a:cubicBezTo>
                  <a:close/>
                  <a:moveTo>
                    <a:pt x="170" y="268"/>
                  </a:moveTo>
                  <a:cubicBezTo>
                    <a:pt x="146" y="268"/>
                    <a:pt x="146" y="268"/>
                    <a:pt x="146" y="268"/>
                  </a:cubicBezTo>
                  <a:cubicBezTo>
                    <a:pt x="146" y="291"/>
                    <a:pt x="146" y="291"/>
                    <a:pt x="146" y="291"/>
                  </a:cubicBezTo>
                  <a:cubicBezTo>
                    <a:pt x="170" y="291"/>
                    <a:pt x="170" y="291"/>
                    <a:pt x="170" y="291"/>
                  </a:cubicBezTo>
                  <a:cubicBezTo>
                    <a:pt x="170" y="268"/>
                    <a:pt x="170" y="268"/>
                    <a:pt x="170" y="268"/>
                  </a:cubicBezTo>
                  <a:cubicBezTo>
                    <a:pt x="170" y="268"/>
                    <a:pt x="170" y="268"/>
                    <a:pt x="170" y="268"/>
                  </a:cubicBezTo>
                  <a:close/>
                  <a:moveTo>
                    <a:pt x="206" y="268"/>
                  </a:moveTo>
                  <a:cubicBezTo>
                    <a:pt x="182" y="268"/>
                    <a:pt x="182" y="268"/>
                    <a:pt x="182" y="268"/>
                  </a:cubicBezTo>
                  <a:cubicBezTo>
                    <a:pt x="182" y="291"/>
                    <a:pt x="182" y="291"/>
                    <a:pt x="182" y="291"/>
                  </a:cubicBezTo>
                  <a:cubicBezTo>
                    <a:pt x="206" y="291"/>
                    <a:pt x="206" y="291"/>
                    <a:pt x="206" y="291"/>
                  </a:cubicBezTo>
                  <a:cubicBezTo>
                    <a:pt x="206" y="268"/>
                    <a:pt x="206" y="268"/>
                    <a:pt x="206" y="268"/>
                  </a:cubicBezTo>
                  <a:cubicBezTo>
                    <a:pt x="206" y="268"/>
                    <a:pt x="206" y="268"/>
                    <a:pt x="206" y="268"/>
                  </a:cubicBezTo>
                  <a:close/>
                  <a:moveTo>
                    <a:pt x="243" y="268"/>
                  </a:moveTo>
                  <a:cubicBezTo>
                    <a:pt x="219" y="268"/>
                    <a:pt x="219" y="268"/>
                    <a:pt x="219" y="268"/>
                  </a:cubicBezTo>
                  <a:cubicBezTo>
                    <a:pt x="219" y="291"/>
                    <a:pt x="219" y="291"/>
                    <a:pt x="219" y="291"/>
                  </a:cubicBezTo>
                  <a:cubicBezTo>
                    <a:pt x="243" y="291"/>
                    <a:pt x="243" y="291"/>
                    <a:pt x="243" y="291"/>
                  </a:cubicBezTo>
                  <a:cubicBezTo>
                    <a:pt x="243" y="268"/>
                    <a:pt x="243" y="268"/>
                    <a:pt x="243" y="268"/>
                  </a:cubicBezTo>
                  <a:cubicBezTo>
                    <a:pt x="243" y="268"/>
                    <a:pt x="243" y="268"/>
                    <a:pt x="243" y="268"/>
                  </a:cubicBezTo>
                  <a:close/>
                  <a:moveTo>
                    <a:pt x="279" y="268"/>
                  </a:moveTo>
                  <a:cubicBezTo>
                    <a:pt x="255" y="268"/>
                    <a:pt x="255" y="268"/>
                    <a:pt x="255" y="268"/>
                  </a:cubicBezTo>
                  <a:cubicBezTo>
                    <a:pt x="255" y="291"/>
                    <a:pt x="255" y="291"/>
                    <a:pt x="255" y="291"/>
                  </a:cubicBezTo>
                  <a:cubicBezTo>
                    <a:pt x="279" y="291"/>
                    <a:pt x="279" y="291"/>
                    <a:pt x="279" y="291"/>
                  </a:cubicBezTo>
                  <a:cubicBezTo>
                    <a:pt x="279" y="268"/>
                    <a:pt x="279" y="268"/>
                    <a:pt x="279" y="268"/>
                  </a:cubicBezTo>
                  <a:cubicBezTo>
                    <a:pt x="279" y="268"/>
                    <a:pt x="279" y="268"/>
                    <a:pt x="279" y="268"/>
                  </a:cubicBezTo>
                  <a:close/>
                  <a:moveTo>
                    <a:pt x="315" y="268"/>
                  </a:moveTo>
                  <a:cubicBezTo>
                    <a:pt x="292" y="268"/>
                    <a:pt x="292" y="268"/>
                    <a:pt x="292" y="268"/>
                  </a:cubicBezTo>
                  <a:cubicBezTo>
                    <a:pt x="292" y="291"/>
                    <a:pt x="292" y="291"/>
                    <a:pt x="292" y="291"/>
                  </a:cubicBezTo>
                  <a:cubicBezTo>
                    <a:pt x="315" y="291"/>
                    <a:pt x="315" y="291"/>
                    <a:pt x="315" y="291"/>
                  </a:cubicBezTo>
                  <a:cubicBezTo>
                    <a:pt x="315" y="268"/>
                    <a:pt x="315" y="268"/>
                    <a:pt x="315" y="268"/>
                  </a:cubicBezTo>
                  <a:cubicBezTo>
                    <a:pt x="315" y="268"/>
                    <a:pt x="315" y="268"/>
                    <a:pt x="315" y="268"/>
                  </a:cubicBezTo>
                  <a:close/>
                  <a:moveTo>
                    <a:pt x="352" y="268"/>
                  </a:moveTo>
                  <a:cubicBezTo>
                    <a:pt x="328" y="268"/>
                    <a:pt x="328" y="268"/>
                    <a:pt x="328" y="268"/>
                  </a:cubicBezTo>
                  <a:cubicBezTo>
                    <a:pt x="328" y="291"/>
                    <a:pt x="328" y="291"/>
                    <a:pt x="328" y="291"/>
                  </a:cubicBezTo>
                  <a:cubicBezTo>
                    <a:pt x="352" y="291"/>
                    <a:pt x="352" y="291"/>
                    <a:pt x="352" y="291"/>
                  </a:cubicBezTo>
                  <a:cubicBezTo>
                    <a:pt x="352" y="268"/>
                    <a:pt x="352" y="268"/>
                    <a:pt x="352" y="268"/>
                  </a:cubicBezTo>
                  <a:cubicBezTo>
                    <a:pt x="352" y="268"/>
                    <a:pt x="352" y="268"/>
                    <a:pt x="352" y="268"/>
                  </a:cubicBezTo>
                  <a:close/>
                  <a:moveTo>
                    <a:pt x="388" y="268"/>
                  </a:moveTo>
                  <a:cubicBezTo>
                    <a:pt x="364" y="268"/>
                    <a:pt x="364" y="268"/>
                    <a:pt x="364" y="268"/>
                  </a:cubicBezTo>
                  <a:cubicBezTo>
                    <a:pt x="364" y="291"/>
                    <a:pt x="364" y="291"/>
                    <a:pt x="364" y="291"/>
                  </a:cubicBezTo>
                  <a:cubicBezTo>
                    <a:pt x="388" y="291"/>
                    <a:pt x="388" y="291"/>
                    <a:pt x="388" y="291"/>
                  </a:cubicBezTo>
                  <a:cubicBezTo>
                    <a:pt x="388" y="268"/>
                    <a:pt x="388" y="268"/>
                    <a:pt x="388" y="268"/>
                  </a:cubicBezTo>
                  <a:cubicBezTo>
                    <a:pt x="388" y="268"/>
                    <a:pt x="388" y="268"/>
                    <a:pt x="388" y="268"/>
                  </a:cubicBezTo>
                  <a:close/>
                  <a:moveTo>
                    <a:pt x="425" y="268"/>
                  </a:moveTo>
                  <a:cubicBezTo>
                    <a:pt x="401" y="268"/>
                    <a:pt x="401" y="268"/>
                    <a:pt x="401" y="268"/>
                  </a:cubicBezTo>
                  <a:cubicBezTo>
                    <a:pt x="401" y="291"/>
                    <a:pt x="401" y="291"/>
                    <a:pt x="401" y="291"/>
                  </a:cubicBezTo>
                  <a:cubicBezTo>
                    <a:pt x="425" y="291"/>
                    <a:pt x="425" y="291"/>
                    <a:pt x="425" y="291"/>
                  </a:cubicBezTo>
                  <a:cubicBezTo>
                    <a:pt x="425" y="268"/>
                    <a:pt x="425" y="268"/>
                    <a:pt x="425" y="268"/>
                  </a:cubicBezTo>
                  <a:cubicBezTo>
                    <a:pt x="425" y="268"/>
                    <a:pt x="425" y="268"/>
                    <a:pt x="425" y="268"/>
                  </a:cubicBezTo>
                  <a:close/>
                  <a:moveTo>
                    <a:pt x="24" y="234"/>
                  </a:moveTo>
                  <a:cubicBezTo>
                    <a:pt x="0" y="234"/>
                    <a:pt x="0" y="234"/>
                    <a:pt x="0" y="234"/>
                  </a:cubicBezTo>
                  <a:cubicBezTo>
                    <a:pt x="0" y="258"/>
                    <a:pt x="0" y="258"/>
                    <a:pt x="0" y="258"/>
                  </a:cubicBezTo>
                  <a:cubicBezTo>
                    <a:pt x="24" y="258"/>
                    <a:pt x="24" y="258"/>
                    <a:pt x="24" y="258"/>
                  </a:cubicBezTo>
                  <a:cubicBezTo>
                    <a:pt x="24" y="234"/>
                    <a:pt x="24" y="234"/>
                    <a:pt x="24" y="234"/>
                  </a:cubicBezTo>
                  <a:cubicBezTo>
                    <a:pt x="24" y="234"/>
                    <a:pt x="24" y="234"/>
                    <a:pt x="24" y="234"/>
                  </a:cubicBezTo>
                  <a:close/>
                  <a:moveTo>
                    <a:pt x="61" y="234"/>
                  </a:moveTo>
                  <a:cubicBezTo>
                    <a:pt x="37" y="234"/>
                    <a:pt x="37" y="234"/>
                    <a:pt x="37" y="234"/>
                  </a:cubicBezTo>
                  <a:cubicBezTo>
                    <a:pt x="37" y="258"/>
                    <a:pt x="37" y="258"/>
                    <a:pt x="37" y="258"/>
                  </a:cubicBezTo>
                  <a:cubicBezTo>
                    <a:pt x="61" y="258"/>
                    <a:pt x="61" y="258"/>
                    <a:pt x="61" y="258"/>
                  </a:cubicBezTo>
                  <a:cubicBezTo>
                    <a:pt x="61" y="234"/>
                    <a:pt x="61" y="234"/>
                    <a:pt x="61" y="234"/>
                  </a:cubicBezTo>
                  <a:cubicBezTo>
                    <a:pt x="61" y="234"/>
                    <a:pt x="61" y="234"/>
                    <a:pt x="61" y="234"/>
                  </a:cubicBezTo>
                  <a:close/>
                  <a:moveTo>
                    <a:pt x="97" y="234"/>
                  </a:moveTo>
                  <a:cubicBezTo>
                    <a:pt x="73" y="234"/>
                    <a:pt x="73" y="234"/>
                    <a:pt x="73" y="234"/>
                  </a:cubicBezTo>
                  <a:cubicBezTo>
                    <a:pt x="73" y="258"/>
                    <a:pt x="73" y="258"/>
                    <a:pt x="73" y="258"/>
                  </a:cubicBezTo>
                  <a:cubicBezTo>
                    <a:pt x="97" y="258"/>
                    <a:pt x="97" y="258"/>
                    <a:pt x="97" y="258"/>
                  </a:cubicBezTo>
                  <a:cubicBezTo>
                    <a:pt x="97" y="234"/>
                    <a:pt x="97" y="234"/>
                    <a:pt x="97" y="234"/>
                  </a:cubicBezTo>
                  <a:cubicBezTo>
                    <a:pt x="97" y="234"/>
                    <a:pt x="97" y="234"/>
                    <a:pt x="97" y="234"/>
                  </a:cubicBezTo>
                  <a:close/>
                  <a:moveTo>
                    <a:pt x="133" y="234"/>
                  </a:moveTo>
                  <a:cubicBezTo>
                    <a:pt x="109" y="234"/>
                    <a:pt x="109" y="234"/>
                    <a:pt x="109" y="234"/>
                  </a:cubicBezTo>
                  <a:cubicBezTo>
                    <a:pt x="109" y="258"/>
                    <a:pt x="109" y="258"/>
                    <a:pt x="109" y="258"/>
                  </a:cubicBezTo>
                  <a:cubicBezTo>
                    <a:pt x="133" y="258"/>
                    <a:pt x="133" y="258"/>
                    <a:pt x="133" y="258"/>
                  </a:cubicBezTo>
                  <a:cubicBezTo>
                    <a:pt x="133" y="234"/>
                    <a:pt x="133" y="234"/>
                    <a:pt x="133" y="234"/>
                  </a:cubicBezTo>
                  <a:cubicBezTo>
                    <a:pt x="133" y="234"/>
                    <a:pt x="133" y="234"/>
                    <a:pt x="133" y="234"/>
                  </a:cubicBezTo>
                  <a:close/>
                  <a:moveTo>
                    <a:pt x="170" y="234"/>
                  </a:moveTo>
                  <a:cubicBezTo>
                    <a:pt x="146" y="234"/>
                    <a:pt x="146" y="234"/>
                    <a:pt x="146" y="234"/>
                  </a:cubicBezTo>
                  <a:cubicBezTo>
                    <a:pt x="146" y="258"/>
                    <a:pt x="146" y="258"/>
                    <a:pt x="146" y="258"/>
                  </a:cubicBezTo>
                  <a:cubicBezTo>
                    <a:pt x="170" y="258"/>
                    <a:pt x="170" y="258"/>
                    <a:pt x="170" y="258"/>
                  </a:cubicBezTo>
                  <a:cubicBezTo>
                    <a:pt x="170" y="234"/>
                    <a:pt x="170" y="234"/>
                    <a:pt x="170" y="234"/>
                  </a:cubicBezTo>
                  <a:cubicBezTo>
                    <a:pt x="170" y="234"/>
                    <a:pt x="170" y="234"/>
                    <a:pt x="170" y="234"/>
                  </a:cubicBezTo>
                  <a:close/>
                  <a:moveTo>
                    <a:pt x="206" y="234"/>
                  </a:moveTo>
                  <a:cubicBezTo>
                    <a:pt x="182" y="234"/>
                    <a:pt x="182" y="234"/>
                    <a:pt x="182" y="234"/>
                  </a:cubicBezTo>
                  <a:cubicBezTo>
                    <a:pt x="182" y="258"/>
                    <a:pt x="182" y="258"/>
                    <a:pt x="182" y="258"/>
                  </a:cubicBezTo>
                  <a:cubicBezTo>
                    <a:pt x="206" y="258"/>
                    <a:pt x="206" y="258"/>
                    <a:pt x="206" y="258"/>
                  </a:cubicBezTo>
                  <a:cubicBezTo>
                    <a:pt x="206" y="234"/>
                    <a:pt x="206" y="234"/>
                    <a:pt x="206" y="234"/>
                  </a:cubicBezTo>
                  <a:cubicBezTo>
                    <a:pt x="206" y="234"/>
                    <a:pt x="206" y="234"/>
                    <a:pt x="206" y="234"/>
                  </a:cubicBezTo>
                  <a:close/>
                  <a:moveTo>
                    <a:pt x="243" y="234"/>
                  </a:moveTo>
                  <a:cubicBezTo>
                    <a:pt x="219" y="234"/>
                    <a:pt x="219" y="234"/>
                    <a:pt x="219" y="234"/>
                  </a:cubicBezTo>
                  <a:cubicBezTo>
                    <a:pt x="219" y="258"/>
                    <a:pt x="219" y="258"/>
                    <a:pt x="219" y="258"/>
                  </a:cubicBezTo>
                  <a:cubicBezTo>
                    <a:pt x="243" y="258"/>
                    <a:pt x="243" y="258"/>
                    <a:pt x="243" y="258"/>
                  </a:cubicBezTo>
                  <a:cubicBezTo>
                    <a:pt x="243" y="234"/>
                    <a:pt x="243" y="234"/>
                    <a:pt x="243" y="234"/>
                  </a:cubicBezTo>
                  <a:cubicBezTo>
                    <a:pt x="243" y="234"/>
                    <a:pt x="243" y="234"/>
                    <a:pt x="243" y="234"/>
                  </a:cubicBezTo>
                  <a:close/>
                  <a:moveTo>
                    <a:pt x="279" y="234"/>
                  </a:moveTo>
                  <a:cubicBezTo>
                    <a:pt x="255" y="234"/>
                    <a:pt x="255" y="234"/>
                    <a:pt x="255" y="234"/>
                  </a:cubicBezTo>
                  <a:cubicBezTo>
                    <a:pt x="255" y="258"/>
                    <a:pt x="255" y="258"/>
                    <a:pt x="255" y="258"/>
                  </a:cubicBezTo>
                  <a:cubicBezTo>
                    <a:pt x="279" y="258"/>
                    <a:pt x="279" y="258"/>
                    <a:pt x="279" y="258"/>
                  </a:cubicBezTo>
                  <a:cubicBezTo>
                    <a:pt x="279" y="234"/>
                    <a:pt x="279" y="234"/>
                    <a:pt x="279" y="234"/>
                  </a:cubicBezTo>
                  <a:cubicBezTo>
                    <a:pt x="279" y="234"/>
                    <a:pt x="279" y="234"/>
                    <a:pt x="279" y="234"/>
                  </a:cubicBezTo>
                  <a:close/>
                  <a:moveTo>
                    <a:pt x="315" y="234"/>
                  </a:moveTo>
                  <a:cubicBezTo>
                    <a:pt x="292" y="234"/>
                    <a:pt x="292" y="234"/>
                    <a:pt x="292" y="234"/>
                  </a:cubicBezTo>
                  <a:cubicBezTo>
                    <a:pt x="292" y="258"/>
                    <a:pt x="292" y="258"/>
                    <a:pt x="292" y="258"/>
                  </a:cubicBezTo>
                  <a:cubicBezTo>
                    <a:pt x="315" y="258"/>
                    <a:pt x="315" y="258"/>
                    <a:pt x="315" y="258"/>
                  </a:cubicBezTo>
                  <a:cubicBezTo>
                    <a:pt x="315" y="234"/>
                    <a:pt x="315" y="234"/>
                    <a:pt x="315" y="234"/>
                  </a:cubicBezTo>
                  <a:cubicBezTo>
                    <a:pt x="315" y="234"/>
                    <a:pt x="315" y="234"/>
                    <a:pt x="315" y="234"/>
                  </a:cubicBezTo>
                  <a:close/>
                  <a:moveTo>
                    <a:pt x="352" y="234"/>
                  </a:moveTo>
                  <a:cubicBezTo>
                    <a:pt x="328" y="234"/>
                    <a:pt x="328" y="234"/>
                    <a:pt x="328" y="234"/>
                  </a:cubicBezTo>
                  <a:cubicBezTo>
                    <a:pt x="328" y="258"/>
                    <a:pt x="328" y="258"/>
                    <a:pt x="328" y="258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52" y="234"/>
                    <a:pt x="352" y="234"/>
                    <a:pt x="352" y="234"/>
                  </a:cubicBezTo>
                  <a:cubicBezTo>
                    <a:pt x="352" y="234"/>
                    <a:pt x="352" y="234"/>
                    <a:pt x="352" y="234"/>
                  </a:cubicBezTo>
                  <a:close/>
                  <a:moveTo>
                    <a:pt x="388" y="234"/>
                  </a:moveTo>
                  <a:cubicBezTo>
                    <a:pt x="364" y="234"/>
                    <a:pt x="364" y="234"/>
                    <a:pt x="364" y="234"/>
                  </a:cubicBezTo>
                  <a:cubicBezTo>
                    <a:pt x="364" y="258"/>
                    <a:pt x="364" y="258"/>
                    <a:pt x="364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34"/>
                    <a:pt x="388" y="234"/>
                    <a:pt x="388" y="234"/>
                  </a:cubicBezTo>
                  <a:cubicBezTo>
                    <a:pt x="388" y="234"/>
                    <a:pt x="388" y="234"/>
                    <a:pt x="388" y="234"/>
                  </a:cubicBezTo>
                  <a:close/>
                  <a:moveTo>
                    <a:pt x="425" y="234"/>
                  </a:moveTo>
                  <a:cubicBezTo>
                    <a:pt x="401" y="234"/>
                    <a:pt x="401" y="234"/>
                    <a:pt x="401" y="234"/>
                  </a:cubicBezTo>
                  <a:cubicBezTo>
                    <a:pt x="401" y="258"/>
                    <a:pt x="401" y="258"/>
                    <a:pt x="401" y="258"/>
                  </a:cubicBezTo>
                  <a:cubicBezTo>
                    <a:pt x="425" y="258"/>
                    <a:pt x="425" y="258"/>
                    <a:pt x="425" y="258"/>
                  </a:cubicBezTo>
                  <a:cubicBezTo>
                    <a:pt x="425" y="234"/>
                    <a:pt x="425" y="234"/>
                    <a:pt x="425" y="234"/>
                  </a:cubicBezTo>
                  <a:cubicBezTo>
                    <a:pt x="425" y="234"/>
                    <a:pt x="425" y="234"/>
                    <a:pt x="425" y="234"/>
                  </a:cubicBezTo>
                  <a:close/>
                  <a:moveTo>
                    <a:pt x="24" y="201"/>
                  </a:moveTo>
                  <a:cubicBezTo>
                    <a:pt x="0" y="201"/>
                    <a:pt x="0" y="201"/>
                    <a:pt x="0" y="201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24" y="225"/>
                    <a:pt x="24" y="225"/>
                    <a:pt x="24" y="225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4" y="201"/>
                    <a:pt x="24" y="201"/>
                    <a:pt x="24" y="201"/>
                  </a:cubicBezTo>
                  <a:close/>
                  <a:moveTo>
                    <a:pt x="61" y="201"/>
                  </a:moveTo>
                  <a:cubicBezTo>
                    <a:pt x="37" y="201"/>
                    <a:pt x="37" y="201"/>
                    <a:pt x="37" y="201"/>
                  </a:cubicBezTo>
                  <a:cubicBezTo>
                    <a:pt x="37" y="225"/>
                    <a:pt x="37" y="225"/>
                    <a:pt x="37" y="225"/>
                  </a:cubicBezTo>
                  <a:cubicBezTo>
                    <a:pt x="61" y="225"/>
                    <a:pt x="61" y="225"/>
                    <a:pt x="61" y="225"/>
                  </a:cubicBezTo>
                  <a:cubicBezTo>
                    <a:pt x="61" y="201"/>
                    <a:pt x="61" y="201"/>
                    <a:pt x="61" y="201"/>
                  </a:cubicBezTo>
                  <a:cubicBezTo>
                    <a:pt x="61" y="201"/>
                    <a:pt x="61" y="201"/>
                    <a:pt x="61" y="201"/>
                  </a:cubicBezTo>
                  <a:close/>
                  <a:moveTo>
                    <a:pt x="97" y="201"/>
                  </a:moveTo>
                  <a:cubicBezTo>
                    <a:pt x="73" y="201"/>
                    <a:pt x="73" y="201"/>
                    <a:pt x="73" y="201"/>
                  </a:cubicBezTo>
                  <a:cubicBezTo>
                    <a:pt x="73" y="225"/>
                    <a:pt x="73" y="225"/>
                    <a:pt x="73" y="225"/>
                  </a:cubicBezTo>
                  <a:cubicBezTo>
                    <a:pt x="97" y="225"/>
                    <a:pt x="97" y="225"/>
                    <a:pt x="97" y="225"/>
                  </a:cubicBezTo>
                  <a:cubicBezTo>
                    <a:pt x="97" y="201"/>
                    <a:pt x="97" y="201"/>
                    <a:pt x="97" y="201"/>
                  </a:cubicBezTo>
                  <a:cubicBezTo>
                    <a:pt x="97" y="201"/>
                    <a:pt x="97" y="201"/>
                    <a:pt x="97" y="201"/>
                  </a:cubicBezTo>
                  <a:close/>
                  <a:moveTo>
                    <a:pt x="133" y="201"/>
                  </a:moveTo>
                  <a:cubicBezTo>
                    <a:pt x="109" y="201"/>
                    <a:pt x="109" y="201"/>
                    <a:pt x="109" y="201"/>
                  </a:cubicBezTo>
                  <a:cubicBezTo>
                    <a:pt x="109" y="225"/>
                    <a:pt x="109" y="225"/>
                    <a:pt x="109" y="225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33" y="201"/>
                    <a:pt x="133" y="201"/>
                    <a:pt x="133" y="201"/>
                  </a:cubicBezTo>
                  <a:cubicBezTo>
                    <a:pt x="133" y="201"/>
                    <a:pt x="133" y="201"/>
                    <a:pt x="133" y="201"/>
                  </a:cubicBezTo>
                  <a:close/>
                  <a:moveTo>
                    <a:pt x="170" y="201"/>
                  </a:moveTo>
                  <a:cubicBezTo>
                    <a:pt x="146" y="201"/>
                    <a:pt x="146" y="201"/>
                    <a:pt x="146" y="201"/>
                  </a:cubicBezTo>
                  <a:cubicBezTo>
                    <a:pt x="146" y="225"/>
                    <a:pt x="146" y="225"/>
                    <a:pt x="146" y="225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0" y="201"/>
                    <a:pt x="170" y="201"/>
                    <a:pt x="170" y="201"/>
                  </a:cubicBezTo>
                  <a:cubicBezTo>
                    <a:pt x="170" y="201"/>
                    <a:pt x="170" y="201"/>
                    <a:pt x="170" y="201"/>
                  </a:cubicBezTo>
                  <a:close/>
                  <a:moveTo>
                    <a:pt x="206" y="201"/>
                  </a:moveTo>
                  <a:cubicBezTo>
                    <a:pt x="182" y="201"/>
                    <a:pt x="182" y="201"/>
                    <a:pt x="182" y="201"/>
                  </a:cubicBezTo>
                  <a:cubicBezTo>
                    <a:pt x="182" y="225"/>
                    <a:pt x="182" y="225"/>
                    <a:pt x="182" y="225"/>
                  </a:cubicBezTo>
                  <a:cubicBezTo>
                    <a:pt x="206" y="225"/>
                    <a:pt x="206" y="225"/>
                    <a:pt x="206" y="225"/>
                  </a:cubicBezTo>
                  <a:cubicBezTo>
                    <a:pt x="206" y="201"/>
                    <a:pt x="206" y="201"/>
                    <a:pt x="206" y="201"/>
                  </a:cubicBezTo>
                  <a:cubicBezTo>
                    <a:pt x="206" y="201"/>
                    <a:pt x="206" y="201"/>
                    <a:pt x="206" y="201"/>
                  </a:cubicBezTo>
                  <a:close/>
                  <a:moveTo>
                    <a:pt x="243" y="201"/>
                  </a:moveTo>
                  <a:cubicBezTo>
                    <a:pt x="219" y="201"/>
                    <a:pt x="219" y="201"/>
                    <a:pt x="219" y="201"/>
                  </a:cubicBezTo>
                  <a:cubicBezTo>
                    <a:pt x="219" y="225"/>
                    <a:pt x="219" y="225"/>
                    <a:pt x="219" y="225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3" y="201"/>
                    <a:pt x="243" y="201"/>
                  </a:cubicBezTo>
                  <a:close/>
                  <a:moveTo>
                    <a:pt x="279" y="201"/>
                  </a:moveTo>
                  <a:cubicBezTo>
                    <a:pt x="255" y="201"/>
                    <a:pt x="255" y="201"/>
                    <a:pt x="255" y="201"/>
                  </a:cubicBezTo>
                  <a:cubicBezTo>
                    <a:pt x="255" y="225"/>
                    <a:pt x="255" y="225"/>
                    <a:pt x="255" y="225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279" y="201"/>
                    <a:pt x="279" y="201"/>
                    <a:pt x="279" y="201"/>
                  </a:cubicBezTo>
                  <a:cubicBezTo>
                    <a:pt x="279" y="201"/>
                    <a:pt x="279" y="201"/>
                    <a:pt x="279" y="201"/>
                  </a:cubicBezTo>
                  <a:close/>
                  <a:moveTo>
                    <a:pt x="315" y="201"/>
                  </a:moveTo>
                  <a:cubicBezTo>
                    <a:pt x="292" y="201"/>
                    <a:pt x="292" y="201"/>
                    <a:pt x="292" y="201"/>
                  </a:cubicBezTo>
                  <a:cubicBezTo>
                    <a:pt x="292" y="225"/>
                    <a:pt x="292" y="225"/>
                    <a:pt x="292" y="225"/>
                  </a:cubicBezTo>
                  <a:cubicBezTo>
                    <a:pt x="315" y="225"/>
                    <a:pt x="315" y="225"/>
                    <a:pt x="315" y="225"/>
                  </a:cubicBezTo>
                  <a:cubicBezTo>
                    <a:pt x="315" y="201"/>
                    <a:pt x="315" y="201"/>
                    <a:pt x="315" y="201"/>
                  </a:cubicBezTo>
                  <a:cubicBezTo>
                    <a:pt x="315" y="201"/>
                    <a:pt x="315" y="201"/>
                    <a:pt x="315" y="201"/>
                  </a:cubicBezTo>
                  <a:close/>
                  <a:moveTo>
                    <a:pt x="352" y="201"/>
                  </a:moveTo>
                  <a:cubicBezTo>
                    <a:pt x="328" y="201"/>
                    <a:pt x="328" y="201"/>
                    <a:pt x="328" y="201"/>
                  </a:cubicBezTo>
                  <a:cubicBezTo>
                    <a:pt x="328" y="225"/>
                    <a:pt x="328" y="225"/>
                    <a:pt x="328" y="225"/>
                  </a:cubicBezTo>
                  <a:cubicBezTo>
                    <a:pt x="352" y="225"/>
                    <a:pt x="352" y="225"/>
                    <a:pt x="352" y="225"/>
                  </a:cubicBezTo>
                  <a:cubicBezTo>
                    <a:pt x="352" y="201"/>
                    <a:pt x="352" y="201"/>
                    <a:pt x="352" y="201"/>
                  </a:cubicBezTo>
                  <a:cubicBezTo>
                    <a:pt x="352" y="201"/>
                    <a:pt x="352" y="201"/>
                    <a:pt x="352" y="201"/>
                  </a:cubicBezTo>
                  <a:close/>
                  <a:moveTo>
                    <a:pt x="388" y="201"/>
                  </a:moveTo>
                  <a:cubicBezTo>
                    <a:pt x="364" y="201"/>
                    <a:pt x="364" y="201"/>
                    <a:pt x="364" y="201"/>
                  </a:cubicBezTo>
                  <a:cubicBezTo>
                    <a:pt x="364" y="225"/>
                    <a:pt x="364" y="225"/>
                    <a:pt x="364" y="225"/>
                  </a:cubicBezTo>
                  <a:cubicBezTo>
                    <a:pt x="388" y="225"/>
                    <a:pt x="388" y="225"/>
                    <a:pt x="388" y="225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88" y="201"/>
                    <a:pt x="388" y="201"/>
                    <a:pt x="388" y="201"/>
                  </a:cubicBezTo>
                  <a:close/>
                  <a:moveTo>
                    <a:pt x="425" y="201"/>
                  </a:moveTo>
                  <a:cubicBezTo>
                    <a:pt x="401" y="201"/>
                    <a:pt x="401" y="201"/>
                    <a:pt x="401" y="201"/>
                  </a:cubicBezTo>
                  <a:cubicBezTo>
                    <a:pt x="401" y="225"/>
                    <a:pt x="401" y="225"/>
                    <a:pt x="401" y="225"/>
                  </a:cubicBezTo>
                  <a:cubicBezTo>
                    <a:pt x="425" y="225"/>
                    <a:pt x="425" y="225"/>
                    <a:pt x="425" y="225"/>
                  </a:cubicBezTo>
                  <a:cubicBezTo>
                    <a:pt x="425" y="201"/>
                    <a:pt x="425" y="201"/>
                    <a:pt x="425" y="201"/>
                  </a:cubicBezTo>
                  <a:cubicBezTo>
                    <a:pt x="425" y="201"/>
                    <a:pt x="425" y="201"/>
                    <a:pt x="425" y="201"/>
                  </a:cubicBezTo>
                  <a:close/>
                  <a:moveTo>
                    <a:pt x="24" y="168"/>
                  </a:moveTo>
                  <a:cubicBezTo>
                    <a:pt x="0" y="168"/>
                    <a:pt x="0" y="168"/>
                    <a:pt x="0" y="168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24" y="191"/>
                    <a:pt x="24" y="191"/>
                    <a:pt x="24" y="191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24" y="168"/>
                    <a:pt x="24" y="168"/>
                    <a:pt x="24" y="168"/>
                  </a:cubicBezTo>
                  <a:close/>
                  <a:moveTo>
                    <a:pt x="61" y="168"/>
                  </a:moveTo>
                  <a:cubicBezTo>
                    <a:pt x="37" y="168"/>
                    <a:pt x="37" y="168"/>
                    <a:pt x="37" y="168"/>
                  </a:cubicBezTo>
                  <a:cubicBezTo>
                    <a:pt x="37" y="191"/>
                    <a:pt x="37" y="191"/>
                    <a:pt x="37" y="191"/>
                  </a:cubicBezTo>
                  <a:cubicBezTo>
                    <a:pt x="61" y="191"/>
                    <a:pt x="61" y="191"/>
                    <a:pt x="61" y="191"/>
                  </a:cubicBezTo>
                  <a:cubicBezTo>
                    <a:pt x="61" y="168"/>
                    <a:pt x="61" y="168"/>
                    <a:pt x="61" y="168"/>
                  </a:cubicBezTo>
                  <a:cubicBezTo>
                    <a:pt x="61" y="168"/>
                    <a:pt x="61" y="168"/>
                    <a:pt x="61" y="168"/>
                  </a:cubicBezTo>
                  <a:close/>
                  <a:moveTo>
                    <a:pt x="97" y="168"/>
                  </a:moveTo>
                  <a:cubicBezTo>
                    <a:pt x="73" y="168"/>
                    <a:pt x="73" y="168"/>
                    <a:pt x="73" y="168"/>
                  </a:cubicBezTo>
                  <a:cubicBezTo>
                    <a:pt x="73" y="191"/>
                    <a:pt x="73" y="191"/>
                    <a:pt x="73" y="191"/>
                  </a:cubicBezTo>
                  <a:cubicBezTo>
                    <a:pt x="97" y="191"/>
                    <a:pt x="97" y="191"/>
                    <a:pt x="97" y="191"/>
                  </a:cubicBezTo>
                  <a:cubicBezTo>
                    <a:pt x="97" y="168"/>
                    <a:pt x="97" y="168"/>
                    <a:pt x="97" y="168"/>
                  </a:cubicBezTo>
                  <a:cubicBezTo>
                    <a:pt x="97" y="168"/>
                    <a:pt x="97" y="168"/>
                    <a:pt x="97" y="168"/>
                  </a:cubicBezTo>
                  <a:close/>
                  <a:moveTo>
                    <a:pt x="133" y="168"/>
                  </a:moveTo>
                  <a:cubicBezTo>
                    <a:pt x="109" y="168"/>
                    <a:pt x="109" y="168"/>
                    <a:pt x="109" y="168"/>
                  </a:cubicBezTo>
                  <a:cubicBezTo>
                    <a:pt x="109" y="191"/>
                    <a:pt x="109" y="191"/>
                    <a:pt x="109" y="191"/>
                  </a:cubicBezTo>
                  <a:cubicBezTo>
                    <a:pt x="133" y="191"/>
                    <a:pt x="133" y="191"/>
                    <a:pt x="133" y="191"/>
                  </a:cubicBezTo>
                  <a:cubicBezTo>
                    <a:pt x="133" y="168"/>
                    <a:pt x="133" y="168"/>
                    <a:pt x="133" y="168"/>
                  </a:cubicBezTo>
                  <a:cubicBezTo>
                    <a:pt x="133" y="168"/>
                    <a:pt x="133" y="168"/>
                    <a:pt x="133" y="168"/>
                  </a:cubicBezTo>
                  <a:close/>
                  <a:moveTo>
                    <a:pt x="170" y="168"/>
                  </a:moveTo>
                  <a:cubicBezTo>
                    <a:pt x="146" y="168"/>
                    <a:pt x="146" y="168"/>
                    <a:pt x="146" y="168"/>
                  </a:cubicBezTo>
                  <a:cubicBezTo>
                    <a:pt x="146" y="191"/>
                    <a:pt x="146" y="191"/>
                    <a:pt x="146" y="191"/>
                  </a:cubicBezTo>
                  <a:cubicBezTo>
                    <a:pt x="170" y="191"/>
                    <a:pt x="170" y="191"/>
                    <a:pt x="170" y="191"/>
                  </a:cubicBezTo>
                  <a:cubicBezTo>
                    <a:pt x="170" y="168"/>
                    <a:pt x="170" y="168"/>
                    <a:pt x="170" y="168"/>
                  </a:cubicBezTo>
                  <a:cubicBezTo>
                    <a:pt x="170" y="168"/>
                    <a:pt x="170" y="168"/>
                    <a:pt x="170" y="168"/>
                  </a:cubicBezTo>
                  <a:close/>
                  <a:moveTo>
                    <a:pt x="206" y="168"/>
                  </a:moveTo>
                  <a:cubicBezTo>
                    <a:pt x="182" y="168"/>
                    <a:pt x="182" y="168"/>
                    <a:pt x="182" y="168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206" y="191"/>
                    <a:pt x="206" y="191"/>
                    <a:pt x="206" y="191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lose/>
                  <a:moveTo>
                    <a:pt x="243" y="168"/>
                  </a:moveTo>
                  <a:cubicBezTo>
                    <a:pt x="219" y="168"/>
                    <a:pt x="219" y="168"/>
                    <a:pt x="219" y="168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168"/>
                    <a:pt x="243" y="168"/>
                    <a:pt x="243" y="168"/>
                  </a:cubicBezTo>
                  <a:cubicBezTo>
                    <a:pt x="243" y="168"/>
                    <a:pt x="243" y="168"/>
                    <a:pt x="243" y="168"/>
                  </a:cubicBezTo>
                  <a:close/>
                  <a:moveTo>
                    <a:pt x="279" y="168"/>
                  </a:moveTo>
                  <a:cubicBezTo>
                    <a:pt x="255" y="168"/>
                    <a:pt x="255" y="168"/>
                    <a:pt x="255" y="168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79" y="191"/>
                    <a:pt x="279" y="191"/>
                    <a:pt x="279" y="191"/>
                  </a:cubicBezTo>
                  <a:cubicBezTo>
                    <a:pt x="279" y="168"/>
                    <a:pt x="279" y="168"/>
                    <a:pt x="279" y="168"/>
                  </a:cubicBezTo>
                  <a:cubicBezTo>
                    <a:pt x="279" y="168"/>
                    <a:pt x="279" y="168"/>
                    <a:pt x="279" y="168"/>
                  </a:cubicBezTo>
                  <a:close/>
                  <a:moveTo>
                    <a:pt x="315" y="168"/>
                  </a:moveTo>
                  <a:cubicBezTo>
                    <a:pt x="292" y="168"/>
                    <a:pt x="292" y="168"/>
                    <a:pt x="292" y="168"/>
                  </a:cubicBezTo>
                  <a:cubicBezTo>
                    <a:pt x="292" y="191"/>
                    <a:pt x="292" y="191"/>
                    <a:pt x="292" y="191"/>
                  </a:cubicBezTo>
                  <a:cubicBezTo>
                    <a:pt x="315" y="191"/>
                    <a:pt x="315" y="191"/>
                    <a:pt x="315" y="191"/>
                  </a:cubicBezTo>
                  <a:cubicBezTo>
                    <a:pt x="315" y="168"/>
                    <a:pt x="315" y="168"/>
                    <a:pt x="315" y="168"/>
                  </a:cubicBezTo>
                  <a:cubicBezTo>
                    <a:pt x="315" y="168"/>
                    <a:pt x="315" y="168"/>
                    <a:pt x="315" y="168"/>
                  </a:cubicBezTo>
                  <a:close/>
                  <a:moveTo>
                    <a:pt x="388" y="168"/>
                  </a:moveTo>
                  <a:cubicBezTo>
                    <a:pt x="364" y="168"/>
                    <a:pt x="364" y="168"/>
                    <a:pt x="364" y="168"/>
                  </a:cubicBezTo>
                  <a:cubicBezTo>
                    <a:pt x="364" y="191"/>
                    <a:pt x="364" y="191"/>
                    <a:pt x="364" y="191"/>
                  </a:cubicBezTo>
                  <a:cubicBezTo>
                    <a:pt x="388" y="191"/>
                    <a:pt x="388" y="191"/>
                    <a:pt x="388" y="191"/>
                  </a:cubicBezTo>
                  <a:cubicBezTo>
                    <a:pt x="388" y="168"/>
                    <a:pt x="388" y="168"/>
                    <a:pt x="388" y="168"/>
                  </a:cubicBezTo>
                  <a:cubicBezTo>
                    <a:pt x="388" y="168"/>
                    <a:pt x="388" y="168"/>
                    <a:pt x="388" y="168"/>
                  </a:cubicBezTo>
                  <a:close/>
                  <a:moveTo>
                    <a:pt x="425" y="168"/>
                  </a:moveTo>
                  <a:cubicBezTo>
                    <a:pt x="401" y="168"/>
                    <a:pt x="401" y="168"/>
                    <a:pt x="401" y="168"/>
                  </a:cubicBezTo>
                  <a:cubicBezTo>
                    <a:pt x="401" y="191"/>
                    <a:pt x="401" y="191"/>
                    <a:pt x="401" y="191"/>
                  </a:cubicBezTo>
                  <a:cubicBezTo>
                    <a:pt x="425" y="191"/>
                    <a:pt x="425" y="191"/>
                    <a:pt x="425" y="191"/>
                  </a:cubicBezTo>
                  <a:cubicBezTo>
                    <a:pt x="425" y="168"/>
                    <a:pt x="425" y="168"/>
                    <a:pt x="425" y="168"/>
                  </a:cubicBezTo>
                  <a:cubicBezTo>
                    <a:pt x="425" y="168"/>
                    <a:pt x="425" y="168"/>
                    <a:pt x="425" y="168"/>
                  </a:cubicBezTo>
                  <a:close/>
                  <a:moveTo>
                    <a:pt x="24" y="134"/>
                  </a:moveTo>
                  <a:cubicBezTo>
                    <a:pt x="0" y="134"/>
                    <a:pt x="0" y="134"/>
                    <a:pt x="0" y="134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4" y="134"/>
                    <a:pt x="24" y="134"/>
                    <a:pt x="24" y="134"/>
                  </a:cubicBezTo>
                  <a:close/>
                  <a:moveTo>
                    <a:pt x="61" y="134"/>
                  </a:moveTo>
                  <a:cubicBezTo>
                    <a:pt x="37" y="134"/>
                    <a:pt x="37" y="134"/>
                    <a:pt x="37" y="134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61" y="158"/>
                    <a:pt x="61" y="158"/>
                    <a:pt x="61" y="158"/>
                  </a:cubicBezTo>
                  <a:cubicBezTo>
                    <a:pt x="61" y="134"/>
                    <a:pt x="61" y="134"/>
                    <a:pt x="61" y="134"/>
                  </a:cubicBezTo>
                  <a:cubicBezTo>
                    <a:pt x="61" y="134"/>
                    <a:pt x="61" y="134"/>
                    <a:pt x="61" y="134"/>
                  </a:cubicBezTo>
                  <a:close/>
                  <a:moveTo>
                    <a:pt x="133" y="134"/>
                  </a:moveTo>
                  <a:cubicBezTo>
                    <a:pt x="109" y="134"/>
                    <a:pt x="109" y="134"/>
                    <a:pt x="109" y="134"/>
                  </a:cubicBezTo>
                  <a:cubicBezTo>
                    <a:pt x="109" y="158"/>
                    <a:pt x="109" y="158"/>
                    <a:pt x="109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3" y="134"/>
                    <a:pt x="133" y="134"/>
                    <a:pt x="133" y="134"/>
                  </a:cubicBezTo>
                  <a:close/>
                  <a:moveTo>
                    <a:pt x="170" y="134"/>
                  </a:moveTo>
                  <a:cubicBezTo>
                    <a:pt x="146" y="134"/>
                    <a:pt x="146" y="134"/>
                    <a:pt x="146" y="134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70" y="134"/>
                    <a:pt x="170" y="134"/>
                    <a:pt x="170" y="134"/>
                  </a:cubicBezTo>
                  <a:close/>
                  <a:moveTo>
                    <a:pt x="206" y="134"/>
                  </a:moveTo>
                  <a:cubicBezTo>
                    <a:pt x="182" y="134"/>
                    <a:pt x="182" y="134"/>
                    <a:pt x="182" y="134"/>
                  </a:cubicBezTo>
                  <a:cubicBezTo>
                    <a:pt x="182" y="158"/>
                    <a:pt x="182" y="158"/>
                    <a:pt x="182" y="158"/>
                  </a:cubicBezTo>
                  <a:cubicBezTo>
                    <a:pt x="206" y="158"/>
                    <a:pt x="206" y="158"/>
                    <a:pt x="206" y="158"/>
                  </a:cubicBezTo>
                  <a:cubicBezTo>
                    <a:pt x="206" y="134"/>
                    <a:pt x="206" y="134"/>
                    <a:pt x="206" y="134"/>
                  </a:cubicBezTo>
                  <a:cubicBezTo>
                    <a:pt x="206" y="134"/>
                    <a:pt x="206" y="134"/>
                    <a:pt x="206" y="134"/>
                  </a:cubicBezTo>
                  <a:close/>
                  <a:moveTo>
                    <a:pt x="243" y="134"/>
                  </a:moveTo>
                  <a:cubicBezTo>
                    <a:pt x="219" y="134"/>
                    <a:pt x="219" y="134"/>
                    <a:pt x="219" y="134"/>
                  </a:cubicBezTo>
                  <a:cubicBezTo>
                    <a:pt x="219" y="158"/>
                    <a:pt x="219" y="158"/>
                    <a:pt x="219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34"/>
                    <a:pt x="243" y="134"/>
                    <a:pt x="243" y="134"/>
                  </a:cubicBezTo>
                  <a:cubicBezTo>
                    <a:pt x="243" y="134"/>
                    <a:pt x="243" y="134"/>
                    <a:pt x="243" y="134"/>
                  </a:cubicBezTo>
                  <a:close/>
                  <a:moveTo>
                    <a:pt x="279" y="134"/>
                  </a:moveTo>
                  <a:cubicBezTo>
                    <a:pt x="255" y="134"/>
                    <a:pt x="255" y="134"/>
                    <a:pt x="255" y="134"/>
                  </a:cubicBezTo>
                  <a:cubicBezTo>
                    <a:pt x="255" y="158"/>
                    <a:pt x="255" y="158"/>
                    <a:pt x="255" y="158"/>
                  </a:cubicBezTo>
                  <a:cubicBezTo>
                    <a:pt x="279" y="158"/>
                    <a:pt x="279" y="158"/>
                    <a:pt x="279" y="158"/>
                  </a:cubicBezTo>
                  <a:cubicBezTo>
                    <a:pt x="279" y="134"/>
                    <a:pt x="279" y="134"/>
                    <a:pt x="279" y="134"/>
                  </a:cubicBezTo>
                  <a:cubicBezTo>
                    <a:pt x="279" y="134"/>
                    <a:pt x="279" y="134"/>
                    <a:pt x="279" y="134"/>
                  </a:cubicBezTo>
                  <a:close/>
                  <a:moveTo>
                    <a:pt x="315" y="134"/>
                  </a:moveTo>
                  <a:cubicBezTo>
                    <a:pt x="292" y="134"/>
                    <a:pt x="292" y="134"/>
                    <a:pt x="292" y="134"/>
                  </a:cubicBezTo>
                  <a:cubicBezTo>
                    <a:pt x="292" y="158"/>
                    <a:pt x="292" y="158"/>
                    <a:pt x="292" y="158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15" y="134"/>
                    <a:pt x="315" y="134"/>
                    <a:pt x="315" y="134"/>
                  </a:cubicBezTo>
                  <a:cubicBezTo>
                    <a:pt x="315" y="134"/>
                    <a:pt x="315" y="134"/>
                    <a:pt x="315" y="134"/>
                  </a:cubicBezTo>
                  <a:close/>
                  <a:moveTo>
                    <a:pt x="388" y="134"/>
                  </a:moveTo>
                  <a:cubicBezTo>
                    <a:pt x="364" y="134"/>
                    <a:pt x="364" y="134"/>
                    <a:pt x="364" y="134"/>
                  </a:cubicBezTo>
                  <a:cubicBezTo>
                    <a:pt x="364" y="158"/>
                    <a:pt x="364" y="158"/>
                    <a:pt x="364" y="158"/>
                  </a:cubicBezTo>
                  <a:cubicBezTo>
                    <a:pt x="388" y="158"/>
                    <a:pt x="388" y="158"/>
                    <a:pt x="388" y="158"/>
                  </a:cubicBezTo>
                  <a:cubicBezTo>
                    <a:pt x="388" y="134"/>
                    <a:pt x="388" y="134"/>
                    <a:pt x="388" y="134"/>
                  </a:cubicBezTo>
                  <a:cubicBezTo>
                    <a:pt x="388" y="134"/>
                    <a:pt x="388" y="134"/>
                    <a:pt x="388" y="134"/>
                  </a:cubicBezTo>
                  <a:close/>
                  <a:moveTo>
                    <a:pt x="425" y="134"/>
                  </a:moveTo>
                  <a:cubicBezTo>
                    <a:pt x="401" y="134"/>
                    <a:pt x="401" y="134"/>
                    <a:pt x="401" y="134"/>
                  </a:cubicBezTo>
                  <a:cubicBezTo>
                    <a:pt x="401" y="158"/>
                    <a:pt x="401" y="158"/>
                    <a:pt x="401" y="158"/>
                  </a:cubicBezTo>
                  <a:cubicBezTo>
                    <a:pt x="425" y="158"/>
                    <a:pt x="425" y="158"/>
                    <a:pt x="425" y="158"/>
                  </a:cubicBezTo>
                  <a:cubicBezTo>
                    <a:pt x="425" y="134"/>
                    <a:pt x="425" y="134"/>
                    <a:pt x="425" y="134"/>
                  </a:cubicBezTo>
                  <a:cubicBezTo>
                    <a:pt x="425" y="134"/>
                    <a:pt x="425" y="134"/>
                    <a:pt x="425" y="134"/>
                  </a:cubicBezTo>
                  <a:close/>
                  <a:moveTo>
                    <a:pt x="24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24" y="100"/>
                    <a:pt x="24" y="100"/>
                    <a:pt x="24" y="100"/>
                  </a:cubicBezTo>
                  <a:close/>
                  <a:moveTo>
                    <a:pt x="61" y="100"/>
                  </a:moveTo>
                  <a:cubicBezTo>
                    <a:pt x="37" y="100"/>
                    <a:pt x="37" y="100"/>
                    <a:pt x="37" y="100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61" y="124"/>
                    <a:pt x="61" y="124"/>
                    <a:pt x="61" y="124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lose/>
                  <a:moveTo>
                    <a:pt x="133" y="100"/>
                  </a:moveTo>
                  <a:cubicBezTo>
                    <a:pt x="109" y="100"/>
                    <a:pt x="109" y="100"/>
                    <a:pt x="109" y="100"/>
                  </a:cubicBezTo>
                  <a:cubicBezTo>
                    <a:pt x="109" y="124"/>
                    <a:pt x="109" y="124"/>
                    <a:pt x="109" y="124"/>
                  </a:cubicBezTo>
                  <a:cubicBezTo>
                    <a:pt x="133" y="124"/>
                    <a:pt x="133" y="124"/>
                    <a:pt x="133" y="124"/>
                  </a:cubicBezTo>
                  <a:cubicBezTo>
                    <a:pt x="133" y="100"/>
                    <a:pt x="133" y="100"/>
                    <a:pt x="133" y="100"/>
                  </a:cubicBezTo>
                  <a:cubicBezTo>
                    <a:pt x="133" y="100"/>
                    <a:pt x="133" y="100"/>
                    <a:pt x="133" y="100"/>
                  </a:cubicBezTo>
                  <a:close/>
                  <a:moveTo>
                    <a:pt x="170" y="100"/>
                  </a:moveTo>
                  <a:cubicBezTo>
                    <a:pt x="146" y="100"/>
                    <a:pt x="146" y="100"/>
                    <a:pt x="146" y="100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70" y="124"/>
                    <a:pt x="170" y="124"/>
                    <a:pt x="170" y="124"/>
                  </a:cubicBezTo>
                  <a:cubicBezTo>
                    <a:pt x="170" y="100"/>
                    <a:pt x="170" y="100"/>
                    <a:pt x="170" y="100"/>
                  </a:cubicBezTo>
                  <a:cubicBezTo>
                    <a:pt x="170" y="100"/>
                    <a:pt x="170" y="100"/>
                    <a:pt x="170" y="100"/>
                  </a:cubicBezTo>
                  <a:close/>
                  <a:moveTo>
                    <a:pt x="206" y="100"/>
                  </a:moveTo>
                  <a:cubicBezTo>
                    <a:pt x="182" y="100"/>
                    <a:pt x="182" y="100"/>
                    <a:pt x="182" y="100"/>
                  </a:cubicBezTo>
                  <a:cubicBezTo>
                    <a:pt x="182" y="124"/>
                    <a:pt x="182" y="124"/>
                    <a:pt x="182" y="124"/>
                  </a:cubicBezTo>
                  <a:cubicBezTo>
                    <a:pt x="206" y="124"/>
                    <a:pt x="206" y="124"/>
                    <a:pt x="206" y="124"/>
                  </a:cubicBezTo>
                  <a:cubicBezTo>
                    <a:pt x="206" y="100"/>
                    <a:pt x="206" y="100"/>
                    <a:pt x="206" y="100"/>
                  </a:cubicBezTo>
                  <a:cubicBezTo>
                    <a:pt x="206" y="100"/>
                    <a:pt x="206" y="100"/>
                    <a:pt x="206" y="100"/>
                  </a:cubicBezTo>
                  <a:close/>
                  <a:moveTo>
                    <a:pt x="279" y="100"/>
                  </a:moveTo>
                  <a:cubicBezTo>
                    <a:pt x="255" y="100"/>
                    <a:pt x="255" y="100"/>
                    <a:pt x="255" y="100"/>
                  </a:cubicBezTo>
                  <a:cubicBezTo>
                    <a:pt x="255" y="124"/>
                    <a:pt x="255" y="124"/>
                    <a:pt x="255" y="124"/>
                  </a:cubicBezTo>
                  <a:cubicBezTo>
                    <a:pt x="279" y="124"/>
                    <a:pt x="279" y="124"/>
                    <a:pt x="279" y="124"/>
                  </a:cubicBezTo>
                  <a:cubicBezTo>
                    <a:pt x="279" y="100"/>
                    <a:pt x="279" y="100"/>
                    <a:pt x="279" y="100"/>
                  </a:cubicBezTo>
                  <a:cubicBezTo>
                    <a:pt x="279" y="100"/>
                    <a:pt x="279" y="100"/>
                    <a:pt x="279" y="100"/>
                  </a:cubicBezTo>
                  <a:close/>
                  <a:moveTo>
                    <a:pt x="388" y="100"/>
                  </a:moveTo>
                  <a:cubicBezTo>
                    <a:pt x="364" y="100"/>
                    <a:pt x="364" y="100"/>
                    <a:pt x="364" y="100"/>
                  </a:cubicBezTo>
                  <a:cubicBezTo>
                    <a:pt x="364" y="124"/>
                    <a:pt x="364" y="124"/>
                    <a:pt x="364" y="124"/>
                  </a:cubicBezTo>
                  <a:cubicBezTo>
                    <a:pt x="388" y="124"/>
                    <a:pt x="388" y="124"/>
                    <a:pt x="388" y="124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88" y="100"/>
                    <a:pt x="388" y="100"/>
                    <a:pt x="388" y="100"/>
                  </a:cubicBezTo>
                  <a:close/>
                  <a:moveTo>
                    <a:pt x="425" y="100"/>
                  </a:moveTo>
                  <a:cubicBezTo>
                    <a:pt x="401" y="100"/>
                    <a:pt x="401" y="100"/>
                    <a:pt x="401" y="100"/>
                  </a:cubicBezTo>
                  <a:cubicBezTo>
                    <a:pt x="401" y="124"/>
                    <a:pt x="401" y="124"/>
                    <a:pt x="401" y="124"/>
                  </a:cubicBezTo>
                  <a:cubicBezTo>
                    <a:pt x="425" y="124"/>
                    <a:pt x="425" y="124"/>
                    <a:pt x="425" y="124"/>
                  </a:cubicBezTo>
                  <a:cubicBezTo>
                    <a:pt x="425" y="100"/>
                    <a:pt x="425" y="100"/>
                    <a:pt x="425" y="100"/>
                  </a:cubicBezTo>
                  <a:cubicBezTo>
                    <a:pt x="425" y="100"/>
                    <a:pt x="425" y="100"/>
                    <a:pt x="425" y="100"/>
                  </a:cubicBezTo>
                  <a:close/>
                  <a:moveTo>
                    <a:pt x="61" y="67"/>
                  </a:moveTo>
                  <a:cubicBezTo>
                    <a:pt x="37" y="67"/>
                    <a:pt x="37" y="67"/>
                    <a:pt x="37" y="67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lose/>
                  <a:moveTo>
                    <a:pt x="170" y="67"/>
                  </a:moveTo>
                  <a:cubicBezTo>
                    <a:pt x="146" y="67"/>
                    <a:pt x="146" y="67"/>
                    <a:pt x="146" y="67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170" y="67"/>
                    <a:pt x="170" y="67"/>
                    <a:pt x="170" y="67"/>
                  </a:cubicBezTo>
                  <a:close/>
                  <a:moveTo>
                    <a:pt x="206" y="67"/>
                  </a:moveTo>
                  <a:cubicBezTo>
                    <a:pt x="182" y="67"/>
                    <a:pt x="182" y="67"/>
                    <a:pt x="182" y="67"/>
                  </a:cubicBezTo>
                  <a:cubicBezTo>
                    <a:pt x="182" y="90"/>
                    <a:pt x="182" y="90"/>
                    <a:pt x="182" y="90"/>
                  </a:cubicBezTo>
                  <a:cubicBezTo>
                    <a:pt x="206" y="90"/>
                    <a:pt x="206" y="90"/>
                    <a:pt x="206" y="90"/>
                  </a:cubicBezTo>
                  <a:cubicBezTo>
                    <a:pt x="206" y="67"/>
                    <a:pt x="206" y="67"/>
                    <a:pt x="206" y="67"/>
                  </a:cubicBezTo>
                  <a:cubicBezTo>
                    <a:pt x="206" y="67"/>
                    <a:pt x="206" y="67"/>
                    <a:pt x="206" y="67"/>
                  </a:cubicBezTo>
                  <a:close/>
                  <a:moveTo>
                    <a:pt x="279" y="67"/>
                  </a:moveTo>
                  <a:cubicBezTo>
                    <a:pt x="255" y="67"/>
                    <a:pt x="255" y="67"/>
                    <a:pt x="255" y="67"/>
                  </a:cubicBezTo>
                  <a:cubicBezTo>
                    <a:pt x="255" y="90"/>
                    <a:pt x="255" y="90"/>
                    <a:pt x="255" y="90"/>
                  </a:cubicBezTo>
                  <a:cubicBezTo>
                    <a:pt x="279" y="90"/>
                    <a:pt x="279" y="90"/>
                    <a:pt x="279" y="90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79" y="67"/>
                    <a:pt x="279" y="67"/>
                    <a:pt x="279" y="67"/>
                  </a:cubicBezTo>
                  <a:close/>
                  <a:moveTo>
                    <a:pt x="680" y="368"/>
                  </a:moveTo>
                  <a:cubicBezTo>
                    <a:pt x="656" y="368"/>
                    <a:pt x="656" y="368"/>
                    <a:pt x="656" y="368"/>
                  </a:cubicBezTo>
                  <a:cubicBezTo>
                    <a:pt x="656" y="392"/>
                    <a:pt x="656" y="392"/>
                    <a:pt x="656" y="392"/>
                  </a:cubicBezTo>
                  <a:cubicBezTo>
                    <a:pt x="680" y="392"/>
                    <a:pt x="680" y="392"/>
                    <a:pt x="680" y="392"/>
                  </a:cubicBezTo>
                  <a:cubicBezTo>
                    <a:pt x="680" y="368"/>
                    <a:pt x="680" y="368"/>
                    <a:pt x="680" y="368"/>
                  </a:cubicBezTo>
                  <a:cubicBezTo>
                    <a:pt x="680" y="368"/>
                    <a:pt x="680" y="368"/>
                    <a:pt x="680" y="368"/>
                  </a:cubicBezTo>
                  <a:close/>
                  <a:moveTo>
                    <a:pt x="717" y="368"/>
                  </a:moveTo>
                  <a:cubicBezTo>
                    <a:pt x="693" y="368"/>
                    <a:pt x="693" y="368"/>
                    <a:pt x="693" y="368"/>
                  </a:cubicBezTo>
                  <a:cubicBezTo>
                    <a:pt x="693" y="392"/>
                    <a:pt x="693" y="392"/>
                    <a:pt x="693" y="392"/>
                  </a:cubicBezTo>
                  <a:cubicBezTo>
                    <a:pt x="717" y="392"/>
                    <a:pt x="717" y="392"/>
                    <a:pt x="717" y="392"/>
                  </a:cubicBezTo>
                  <a:cubicBezTo>
                    <a:pt x="717" y="368"/>
                    <a:pt x="717" y="368"/>
                    <a:pt x="717" y="368"/>
                  </a:cubicBezTo>
                  <a:cubicBezTo>
                    <a:pt x="717" y="368"/>
                    <a:pt x="717" y="368"/>
                    <a:pt x="717" y="368"/>
                  </a:cubicBezTo>
                  <a:close/>
                  <a:moveTo>
                    <a:pt x="753" y="368"/>
                  </a:moveTo>
                  <a:cubicBezTo>
                    <a:pt x="729" y="368"/>
                    <a:pt x="729" y="368"/>
                    <a:pt x="729" y="368"/>
                  </a:cubicBezTo>
                  <a:cubicBezTo>
                    <a:pt x="729" y="392"/>
                    <a:pt x="729" y="392"/>
                    <a:pt x="729" y="392"/>
                  </a:cubicBezTo>
                  <a:cubicBezTo>
                    <a:pt x="753" y="392"/>
                    <a:pt x="753" y="392"/>
                    <a:pt x="753" y="392"/>
                  </a:cubicBezTo>
                  <a:cubicBezTo>
                    <a:pt x="753" y="368"/>
                    <a:pt x="753" y="368"/>
                    <a:pt x="753" y="368"/>
                  </a:cubicBezTo>
                  <a:cubicBezTo>
                    <a:pt x="753" y="368"/>
                    <a:pt x="753" y="368"/>
                    <a:pt x="753" y="368"/>
                  </a:cubicBezTo>
                  <a:close/>
                  <a:moveTo>
                    <a:pt x="789" y="368"/>
                  </a:moveTo>
                  <a:cubicBezTo>
                    <a:pt x="766" y="368"/>
                    <a:pt x="766" y="368"/>
                    <a:pt x="766" y="368"/>
                  </a:cubicBezTo>
                  <a:cubicBezTo>
                    <a:pt x="766" y="392"/>
                    <a:pt x="766" y="392"/>
                    <a:pt x="766" y="392"/>
                  </a:cubicBezTo>
                  <a:cubicBezTo>
                    <a:pt x="789" y="392"/>
                    <a:pt x="789" y="392"/>
                    <a:pt x="789" y="392"/>
                  </a:cubicBezTo>
                  <a:cubicBezTo>
                    <a:pt x="789" y="368"/>
                    <a:pt x="789" y="368"/>
                    <a:pt x="789" y="368"/>
                  </a:cubicBezTo>
                  <a:cubicBezTo>
                    <a:pt x="789" y="368"/>
                    <a:pt x="789" y="368"/>
                    <a:pt x="789" y="368"/>
                  </a:cubicBezTo>
                  <a:close/>
                  <a:moveTo>
                    <a:pt x="680" y="335"/>
                  </a:moveTo>
                  <a:cubicBezTo>
                    <a:pt x="656" y="335"/>
                    <a:pt x="656" y="335"/>
                    <a:pt x="656" y="335"/>
                  </a:cubicBezTo>
                  <a:cubicBezTo>
                    <a:pt x="656" y="358"/>
                    <a:pt x="656" y="358"/>
                    <a:pt x="656" y="358"/>
                  </a:cubicBezTo>
                  <a:cubicBezTo>
                    <a:pt x="680" y="358"/>
                    <a:pt x="680" y="358"/>
                    <a:pt x="680" y="358"/>
                  </a:cubicBezTo>
                  <a:cubicBezTo>
                    <a:pt x="680" y="335"/>
                    <a:pt x="680" y="335"/>
                    <a:pt x="680" y="335"/>
                  </a:cubicBezTo>
                  <a:cubicBezTo>
                    <a:pt x="680" y="335"/>
                    <a:pt x="680" y="335"/>
                    <a:pt x="680" y="335"/>
                  </a:cubicBezTo>
                  <a:close/>
                  <a:moveTo>
                    <a:pt x="717" y="335"/>
                  </a:moveTo>
                  <a:cubicBezTo>
                    <a:pt x="693" y="335"/>
                    <a:pt x="693" y="335"/>
                    <a:pt x="693" y="335"/>
                  </a:cubicBezTo>
                  <a:cubicBezTo>
                    <a:pt x="693" y="358"/>
                    <a:pt x="693" y="358"/>
                    <a:pt x="693" y="358"/>
                  </a:cubicBezTo>
                  <a:cubicBezTo>
                    <a:pt x="717" y="358"/>
                    <a:pt x="717" y="358"/>
                    <a:pt x="717" y="358"/>
                  </a:cubicBezTo>
                  <a:cubicBezTo>
                    <a:pt x="717" y="335"/>
                    <a:pt x="717" y="335"/>
                    <a:pt x="717" y="335"/>
                  </a:cubicBezTo>
                  <a:cubicBezTo>
                    <a:pt x="717" y="335"/>
                    <a:pt x="717" y="335"/>
                    <a:pt x="717" y="335"/>
                  </a:cubicBezTo>
                  <a:close/>
                  <a:moveTo>
                    <a:pt x="753" y="335"/>
                  </a:moveTo>
                  <a:cubicBezTo>
                    <a:pt x="729" y="335"/>
                    <a:pt x="729" y="335"/>
                    <a:pt x="729" y="335"/>
                  </a:cubicBezTo>
                  <a:cubicBezTo>
                    <a:pt x="729" y="358"/>
                    <a:pt x="729" y="358"/>
                    <a:pt x="729" y="358"/>
                  </a:cubicBezTo>
                  <a:cubicBezTo>
                    <a:pt x="753" y="358"/>
                    <a:pt x="753" y="358"/>
                    <a:pt x="753" y="358"/>
                  </a:cubicBezTo>
                  <a:cubicBezTo>
                    <a:pt x="753" y="335"/>
                    <a:pt x="753" y="335"/>
                    <a:pt x="753" y="335"/>
                  </a:cubicBezTo>
                  <a:cubicBezTo>
                    <a:pt x="753" y="335"/>
                    <a:pt x="753" y="335"/>
                    <a:pt x="753" y="335"/>
                  </a:cubicBezTo>
                  <a:close/>
                  <a:moveTo>
                    <a:pt x="789" y="335"/>
                  </a:moveTo>
                  <a:cubicBezTo>
                    <a:pt x="766" y="335"/>
                    <a:pt x="766" y="335"/>
                    <a:pt x="766" y="335"/>
                  </a:cubicBezTo>
                  <a:cubicBezTo>
                    <a:pt x="766" y="358"/>
                    <a:pt x="766" y="358"/>
                    <a:pt x="766" y="358"/>
                  </a:cubicBezTo>
                  <a:cubicBezTo>
                    <a:pt x="789" y="358"/>
                    <a:pt x="789" y="358"/>
                    <a:pt x="789" y="358"/>
                  </a:cubicBezTo>
                  <a:cubicBezTo>
                    <a:pt x="789" y="335"/>
                    <a:pt x="789" y="335"/>
                    <a:pt x="789" y="335"/>
                  </a:cubicBezTo>
                  <a:cubicBezTo>
                    <a:pt x="789" y="335"/>
                    <a:pt x="789" y="335"/>
                    <a:pt x="789" y="335"/>
                  </a:cubicBezTo>
                  <a:close/>
                  <a:moveTo>
                    <a:pt x="680" y="301"/>
                  </a:moveTo>
                  <a:cubicBezTo>
                    <a:pt x="656" y="301"/>
                    <a:pt x="656" y="301"/>
                    <a:pt x="656" y="301"/>
                  </a:cubicBezTo>
                  <a:cubicBezTo>
                    <a:pt x="656" y="325"/>
                    <a:pt x="656" y="325"/>
                    <a:pt x="656" y="325"/>
                  </a:cubicBezTo>
                  <a:cubicBezTo>
                    <a:pt x="680" y="325"/>
                    <a:pt x="680" y="325"/>
                    <a:pt x="680" y="325"/>
                  </a:cubicBezTo>
                  <a:cubicBezTo>
                    <a:pt x="680" y="301"/>
                    <a:pt x="680" y="301"/>
                    <a:pt x="680" y="301"/>
                  </a:cubicBezTo>
                  <a:cubicBezTo>
                    <a:pt x="680" y="301"/>
                    <a:pt x="680" y="301"/>
                    <a:pt x="680" y="301"/>
                  </a:cubicBezTo>
                  <a:close/>
                  <a:moveTo>
                    <a:pt x="717" y="301"/>
                  </a:moveTo>
                  <a:cubicBezTo>
                    <a:pt x="693" y="301"/>
                    <a:pt x="693" y="301"/>
                    <a:pt x="693" y="301"/>
                  </a:cubicBezTo>
                  <a:cubicBezTo>
                    <a:pt x="693" y="325"/>
                    <a:pt x="693" y="325"/>
                    <a:pt x="693" y="325"/>
                  </a:cubicBezTo>
                  <a:cubicBezTo>
                    <a:pt x="717" y="325"/>
                    <a:pt x="717" y="325"/>
                    <a:pt x="717" y="325"/>
                  </a:cubicBezTo>
                  <a:cubicBezTo>
                    <a:pt x="717" y="301"/>
                    <a:pt x="717" y="301"/>
                    <a:pt x="717" y="301"/>
                  </a:cubicBezTo>
                  <a:cubicBezTo>
                    <a:pt x="717" y="301"/>
                    <a:pt x="717" y="301"/>
                    <a:pt x="717" y="301"/>
                  </a:cubicBezTo>
                  <a:close/>
                  <a:moveTo>
                    <a:pt x="753" y="301"/>
                  </a:moveTo>
                  <a:cubicBezTo>
                    <a:pt x="729" y="301"/>
                    <a:pt x="729" y="301"/>
                    <a:pt x="729" y="301"/>
                  </a:cubicBezTo>
                  <a:cubicBezTo>
                    <a:pt x="729" y="325"/>
                    <a:pt x="729" y="325"/>
                    <a:pt x="729" y="325"/>
                  </a:cubicBezTo>
                  <a:cubicBezTo>
                    <a:pt x="753" y="325"/>
                    <a:pt x="753" y="325"/>
                    <a:pt x="753" y="325"/>
                  </a:cubicBezTo>
                  <a:cubicBezTo>
                    <a:pt x="753" y="301"/>
                    <a:pt x="753" y="301"/>
                    <a:pt x="753" y="301"/>
                  </a:cubicBezTo>
                  <a:cubicBezTo>
                    <a:pt x="753" y="301"/>
                    <a:pt x="753" y="301"/>
                    <a:pt x="753" y="301"/>
                  </a:cubicBezTo>
                  <a:close/>
                  <a:moveTo>
                    <a:pt x="789" y="301"/>
                  </a:moveTo>
                  <a:cubicBezTo>
                    <a:pt x="766" y="301"/>
                    <a:pt x="766" y="301"/>
                    <a:pt x="766" y="301"/>
                  </a:cubicBezTo>
                  <a:cubicBezTo>
                    <a:pt x="766" y="325"/>
                    <a:pt x="766" y="325"/>
                    <a:pt x="766" y="325"/>
                  </a:cubicBezTo>
                  <a:cubicBezTo>
                    <a:pt x="789" y="325"/>
                    <a:pt x="789" y="325"/>
                    <a:pt x="789" y="325"/>
                  </a:cubicBezTo>
                  <a:cubicBezTo>
                    <a:pt x="789" y="301"/>
                    <a:pt x="789" y="301"/>
                    <a:pt x="789" y="301"/>
                  </a:cubicBezTo>
                  <a:cubicBezTo>
                    <a:pt x="789" y="301"/>
                    <a:pt x="789" y="301"/>
                    <a:pt x="789" y="301"/>
                  </a:cubicBezTo>
                  <a:close/>
                  <a:moveTo>
                    <a:pt x="680" y="268"/>
                  </a:moveTo>
                  <a:cubicBezTo>
                    <a:pt x="656" y="268"/>
                    <a:pt x="656" y="268"/>
                    <a:pt x="656" y="268"/>
                  </a:cubicBezTo>
                  <a:cubicBezTo>
                    <a:pt x="656" y="291"/>
                    <a:pt x="656" y="291"/>
                    <a:pt x="656" y="291"/>
                  </a:cubicBezTo>
                  <a:cubicBezTo>
                    <a:pt x="680" y="291"/>
                    <a:pt x="680" y="291"/>
                    <a:pt x="680" y="291"/>
                  </a:cubicBezTo>
                  <a:cubicBezTo>
                    <a:pt x="680" y="268"/>
                    <a:pt x="680" y="268"/>
                    <a:pt x="680" y="268"/>
                  </a:cubicBezTo>
                  <a:cubicBezTo>
                    <a:pt x="680" y="268"/>
                    <a:pt x="680" y="268"/>
                    <a:pt x="680" y="268"/>
                  </a:cubicBezTo>
                  <a:close/>
                  <a:moveTo>
                    <a:pt x="717" y="268"/>
                  </a:moveTo>
                  <a:cubicBezTo>
                    <a:pt x="693" y="268"/>
                    <a:pt x="693" y="268"/>
                    <a:pt x="693" y="268"/>
                  </a:cubicBezTo>
                  <a:cubicBezTo>
                    <a:pt x="693" y="291"/>
                    <a:pt x="693" y="291"/>
                    <a:pt x="693" y="291"/>
                  </a:cubicBezTo>
                  <a:cubicBezTo>
                    <a:pt x="717" y="291"/>
                    <a:pt x="717" y="291"/>
                    <a:pt x="717" y="291"/>
                  </a:cubicBezTo>
                  <a:cubicBezTo>
                    <a:pt x="717" y="268"/>
                    <a:pt x="717" y="268"/>
                    <a:pt x="717" y="268"/>
                  </a:cubicBezTo>
                  <a:cubicBezTo>
                    <a:pt x="717" y="268"/>
                    <a:pt x="717" y="268"/>
                    <a:pt x="717" y="268"/>
                  </a:cubicBezTo>
                  <a:close/>
                  <a:moveTo>
                    <a:pt x="753" y="268"/>
                  </a:moveTo>
                  <a:cubicBezTo>
                    <a:pt x="729" y="268"/>
                    <a:pt x="729" y="268"/>
                    <a:pt x="729" y="268"/>
                  </a:cubicBezTo>
                  <a:cubicBezTo>
                    <a:pt x="729" y="291"/>
                    <a:pt x="729" y="291"/>
                    <a:pt x="729" y="291"/>
                  </a:cubicBezTo>
                  <a:cubicBezTo>
                    <a:pt x="753" y="291"/>
                    <a:pt x="753" y="291"/>
                    <a:pt x="753" y="291"/>
                  </a:cubicBezTo>
                  <a:cubicBezTo>
                    <a:pt x="753" y="268"/>
                    <a:pt x="753" y="268"/>
                    <a:pt x="753" y="268"/>
                  </a:cubicBezTo>
                  <a:cubicBezTo>
                    <a:pt x="753" y="268"/>
                    <a:pt x="753" y="268"/>
                    <a:pt x="753" y="268"/>
                  </a:cubicBezTo>
                  <a:close/>
                  <a:moveTo>
                    <a:pt x="789" y="268"/>
                  </a:moveTo>
                  <a:cubicBezTo>
                    <a:pt x="766" y="268"/>
                    <a:pt x="766" y="268"/>
                    <a:pt x="766" y="268"/>
                  </a:cubicBezTo>
                  <a:cubicBezTo>
                    <a:pt x="766" y="291"/>
                    <a:pt x="766" y="291"/>
                    <a:pt x="766" y="291"/>
                  </a:cubicBezTo>
                  <a:cubicBezTo>
                    <a:pt x="789" y="291"/>
                    <a:pt x="789" y="291"/>
                    <a:pt x="789" y="291"/>
                  </a:cubicBezTo>
                  <a:cubicBezTo>
                    <a:pt x="789" y="268"/>
                    <a:pt x="789" y="268"/>
                    <a:pt x="789" y="268"/>
                  </a:cubicBezTo>
                  <a:cubicBezTo>
                    <a:pt x="789" y="268"/>
                    <a:pt x="789" y="268"/>
                    <a:pt x="789" y="268"/>
                  </a:cubicBezTo>
                  <a:close/>
                  <a:moveTo>
                    <a:pt x="680" y="234"/>
                  </a:moveTo>
                  <a:cubicBezTo>
                    <a:pt x="656" y="234"/>
                    <a:pt x="656" y="234"/>
                    <a:pt x="656" y="234"/>
                  </a:cubicBezTo>
                  <a:cubicBezTo>
                    <a:pt x="656" y="258"/>
                    <a:pt x="656" y="258"/>
                    <a:pt x="656" y="258"/>
                  </a:cubicBezTo>
                  <a:cubicBezTo>
                    <a:pt x="680" y="258"/>
                    <a:pt x="680" y="258"/>
                    <a:pt x="680" y="258"/>
                  </a:cubicBezTo>
                  <a:cubicBezTo>
                    <a:pt x="680" y="234"/>
                    <a:pt x="680" y="234"/>
                    <a:pt x="680" y="234"/>
                  </a:cubicBezTo>
                  <a:cubicBezTo>
                    <a:pt x="680" y="234"/>
                    <a:pt x="680" y="234"/>
                    <a:pt x="680" y="234"/>
                  </a:cubicBezTo>
                  <a:close/>
                  <a:moveTo>
                    <a:pt x="717" y="234"/>
                  </a:moveTo>
                  <a:cubicBezTo>
                    <a:pt x="693" y="234"/>
                    <a:pt x="693" y="234"/>
                    <a:pt x="693" y="234"/>
                  </a:cubicBezTo>
                  <a:cubicBezTo>
                    <a:pt x="693" y="258"/>
                    <a:pt x="693" y="258"/>
                    <a:pt x="693" y="258"/>
                  </a:cubicBezTo>
                  <a:cubicBezTo>
                    <a:pt x="717" y="258"/>
                    <a:pt x="717" y="258"/>
                    <a:pt x="717" y="258"/>
                  </a:cubicBezTo>
                  <a:cubicBezTo>
                    <a:pt x="717" y="234"/>
                    <a:pt x="717" y="234"/>
                    <a:pt x="717" y="234"/>
                  </a:cubicBezTo>
                  <a:cubicBezTo>
                    <a:pt x="717" y="234"/>
                    <a:pt x="717" y="234"/>
                    <a:pt x="717" y="234"/>
                  </a:cubicBezTo>
                  <a:close/>
                  <a:moveTo>
                    <a:pt x="753" y="234"/>
                  </a:moveTo>
                  <a:cubicBezTo>
                    <a:pt x="729" y="234"/>
                    <a:pt x="729" y="234"/>
                    <a:pt x="729" y="234"/>
                  </a:cubicBezTo>
                  <a:cubicBezTo>
                    <a:pt x="729" y="258"/>
                    <a:pt x="729" y="258"/>
                    <a:pt x="729" y="258"/>
                  </a:cubicBezTo>
                  <a:cubicBezTo>
                    <a:pt x="753" y="258"/>
                    <a:pt x="753" y="258"/>
                    <a:pt x="753" y="258"/>
                  </a:cubicBezTo>
                  <a:cubicBezTo>
                    <a:pt x="753" y="234"/>
                    <a:pt x="753" y="234"/>
                    <a:pt x="753" y="234"/>
                  </a:cubicBezTo>
                  <a:cubicBezTo>
                    <a:pt x="753" y="234"/>
                    <a:pt x="753" y="234"/>
                    <a:pt x="753" y="234"/>
                  </a:cubicBezTo>
                  <a:close/>
                  <a:moveTo>
                    <a:pt x="789" y="234"/>
                  </a:moveTo>
                  <a:cubicBezTo>
                    <a:pt x="766" y="234"/>
                    <a:pt x="766" y="234"/>
                    <a:pt x="766" y="234"/>
                  </a:cubicBezTo>
                  <a:cubicBezTo>
                    <a:pt x="766" y="258"/>
                    <a:pt x="766" y="258"/>
                    <a:pt x="766" y="258"/>
                  </a:cubicBezTo>
                  <a:cubicBezTo>
                    <a:pt x="789" y="258"/>
                    <a:pt x="789" y="258"/>
                    <a:pt x="789" y="258"/>
                  </a:cubicBezTo>
                  <a:cubicBezTo>
                    <a:pt x="789" y="234"/>
                    <a:pt x="789" y="234"/>
                    <a:pt x="789" y="234"/>
                  </a:cubicBezTo>
                  <a:cubicBezTo>
                    <a:pt x="789" y="234"/>
                    <a:pt x="789" y="234"/>
                    <a:pt x="789" y="234"/>
                  </a:cubicBezTo>
                  <a:close/>
                  <a:moveTo>
                    <a:pt x="680" y="201"/>
                  </a:moveTo>
                  <a:cubicBezTo>
                    <a:pt x="656" y="201"/>
                    <a:pt x="656" y="201"/>
                    <a:pt x="656" y="201"/>
                  </a:cubicBezTo>
                  <a:cubicBezTo>
                    <a:pt x="656" y="225"/>
                    <a:pt x="656" y="225"/>
                    <a:pt x="656" y="225"/>
                  </a:cubicBezTo>
                  <a:cubicBezTo>
                    <a:pt x="680" y="225"/>
                    <a:pt x="680" y="225"/>
                    <a:pt x="680" y="225"/>
                  </a:cubicBezTo>
                  <a:cubicBezTo>
                    <a:pt x="680" y="201"/>
                    <a:pt x="680" y="201"/>
                    <a:pt x="680" y="201"/>
                  </a:cubicBezTo>
                  <a:cubicBezTo>
                    <a:pt x="680" y="201"/>
                    <a:pt x="680" y="201"/>
                    <a:pt x="680" y="201"/>
                  </a:cubicBezTo>
                  <a:close/>
                  <a:moveTo>
                    <a:pt x="717" y="201"/>
                  </a:moveTo>
                  <a:cubicBezTo>
                    <a:pt x="693" y="201"/>
                    <a:pt x="693" y="201"/>
                    <a:pt x="693" y="201"/>
                  </a:cubicBezTo>
                  <a:cubicBezTo>
                    <a:pt x="693" y="225"/>
                    <a:pt x="693" y="225"/>
                    <a:pt x="693" y="225"/>
                  </a:cubicBezTo>
                  <a:cubicBezTo>
                    <a:pt x="717" y="225"/>
                    <a:pt x="717" y="225"/>
                    <a:pt x="717" y="225"/>
                  </a:cubicBezTo>
                  <a:cubicBezTo>
                    <a:pt x="717" y="201"/>
                    <a:pt x="717" y="201"/>
                    <a:pt x="717" y="201"/>
                  </a:cubicBezTo>
                  <a:cubicBezTo>
                    <a:pt x="717" y="201"/>
                    <a:pt x="717" y="201"/>
                    <a:pt x="717" y="201"/>
                  </a:cubicBezTo>
                  <a:close/>
                  <a:moveTo>
                    <a:pt x="753" y="201"/>
                  </a:moveTo>
                  <a:cubicBezTo>
                    <a:pt x="729" y="201"/>
                    <a:pt x="729" y="201"/>
                    <a:pt x="729" y="201"/>
                  </a:cubicBezTo>
                  <a:cubicBezTo>
                    <a:pt x="729" y="225"/>
                    <a:pt x="729" y="225"/>
                    <a:pt x="729" y="225"/>
                  </a:cubicBezTo>
                  <a:cubicBezTo>
                    <a:pt x="753" y="225"/>
                    <a:pt x="753" y="225"/>
                    <a:pt x="753" y="225"/>
                  </a:cubicBezTo>
                  <a:cubicBezTo>
                    <a:pt x="753" y="201"/>
                    <a:pt x="753" y="201"/>
                    <a:pt x="753" y="201"/>
                  </a:cubicBezTo>
                  <a:cubicBezTo>
                    <a:pt x="753" y="201"/>
                    <a:pt x="753" y="201"/>
                    <a:pt x="753" y="201"/>
                  </a:cubicBezTo>
                  <a:close/>
                  <a:moveTo>
                    <a:pt x="789" y="201"/>
                  </a:moveTo>
                  <a:cubicBezTo>
                    <a:pt x="766" y="201"/>
                    <a:pt x="766" y="201"/>
                    <a:pt x="766" y="201"/>
                  </a:cubicBezTo>
                  <a:cubicBezTo>
                    <a:pt x="766" y="225"/>
                    <a:pt x="766" y="225"/>
                    <a:pt x="766" y="225"/>
                  </a:cubicBezTo>
                  <a:cubicBezTo>
                    <a:pt x="789" y="225"/>
                    <a:pt x="789" y="225"/>
                    <a:pt x="789" y="225"/>
                  </a:cubicBezTo>
                  <a:cubicBezTo>
                    <a:pt x="789" y="201"/>
                    <a:pt x="789" y="201"/>
                    <a:pt x="789" y="201"/>
                  </a:cubicBezTo>
                  <a:cubicBezTo>
                    <a:pt x="789" y="201"/>
                    <a:pt x="789" y="201"/>
                    <a:pt x="789" y="201"/>
                  </a:cubicBezTo>
                  <a:close/>
                  <a:moveTo>
                    <a:pt x="680" y="168"/>
                  </a:moveTo>
                  <a:cubicBezTo>
                    <a:pt x="656" y="168"/>
                    <a:pt x="656" y="168"/>
                    <a:pt x="656" y="168"/>
                  </a:cubicBezTo>
                  <a:cubicBezTo>
                    <a:pt x="656" y="191"/>
                    <a:pt x="656" y="191"/>
                    <a:pt x="656" y="191"/>
                  </a:cubicBezTo>
                  <a:cubicBezTo>
                    <a:pt x="680" y="191"/>
                    <a:pt x="680" y="191"/>
                    <a:pt x="680" y="191"/>
                  </a:cubicBezTo>
                  <a:cubicBezTo>
                    <a:pt x="680" y="168"/>
                    <a:pt x="680" y="168"/>
                    <a:pt x="680" y="168"/>
                  </a:cubicBezTo>
                  <a:cubicBezTo>
                    <a:pt x="680" y="168"/>
                    <a:pt x="680" y="168"/>
                    <a:pt x="680" y="168"/>
                  </a:cubicBezTo>
                  <a:close/>
                  <a:moveTo>
                    <a:pt x="717" y="168"/>
                  </a:moveTo>
                  <a:cubicBezTo>
                    <a:pt x="693" y="168"/>
                    <a:pt x="693" y="168"/>
                    <a:pt x="693" y="168"/>
                  </a:cubicBezTo>
                  <a:cubicBezTo>
                    <a:pt x="693" y="191"/>
                    <a:pt x="693" y="191"/>
                    <a:pt x="693" y="191"/>
                  </a:cubicBezTo>
                  <a:cubicBezTo>
                    <a:pt x="717" y="191"/>
                    <a:pt x="717" y="191"/>
                    <a:pt x="717" y="191"/>
                  </a:cubicBezTo>
                  <a:cubicBezTo>
                    <a:pt x="717" y="168"/>
                    <a:pt x="717" y="168"/>
                    <a:pt x="717" y="168"/>
                  </a:cubicBezTo>
                  <a:cubicBezTo>
                    <a:pt x="717" y="168"/>
                    <a:pt x="717" y="168"/>
                    <a:pt x="717" y="168"/>
                  </a:cubicBezTo>
                  <a:close/>
                  <a:moveTo>
                    <a:pt x="753" y="168"/>
                  </a:moveTo>
                  <a:cubicBezTo>
                    <a:pt x="729" y="168"/>
                    <a:pt x="729" y="168"/>
                    <a:pt x="729" y="168"/>
                  </a:cubicBezTo>
                  <a:cubicBezTo>
                    <a:pt x="729" y="191"/>
                    <a:pt x="729" y="191"/>
                    <a:pt x="729" y="191"/>
                  </a:cubicBezTo>
                  <a:cubicBezTo>
                    <a:pt x="753" y="191"/>
                    <a:pt x="753" y="191"/>
                    <a:pt x="753" y="191"/>
                  </a:cubicBezTo>
                  <a:cubicBezTo>
                    <a:pt x="753" y="168"/>
                    <a:pt x="753" y="168"/>
                    <a:pt x="753" y="168"/>
                  </a:cubicBezTo>
                  <a:cubicBezTo>
                    <a:pt x="753" y="168"/>
                    <a:pt x="753" y="168"/>
                    <a:pt x="753" y="168"/>
                  </a:cubicBezTo>
                  <a:close/>
                  <a:moveTo>
                    <a:pt x="680" y="134"/>
                  </a:moveTo>
                  <a:cubicBezTo>
                    <a:pt x="656" y="134"/>
                    <a:pt x="656" y="134"/>
                    <a:pt x="656" y="134"/>
                  </a:cubicBezTo>
                  <a:cubicBezTo>
                    <a:pt x="656" y="158"/>
                    <a:pt x="656" y="158"/>
                    <a:pt x="656" y="158"/>
                  </a:cubicBezTo>
                  <a:cubicBezTo>
                    <a:pt x="680" y="158"/>
                    <a:pt x="680" y="158"/>
                    <a:pt x="680" y="158"/>
                  </a:cubicBezTo>
                  <a:cubicBezTo>
                    <a:pt x="680" y="134"/>
                    <a:pt x="680" y="134"/>
                    <a:pt x="680" y="134"/>
                  </a:cubicBezTo>
                  <a:cubicBezTo>
                    <a:pt x="680" y="134"/>
                    <a:pt x="680" y="134"/>
                    <a:pt x="680" y="134"/>
                  </a:cubicBezTo>
                  <a:close/>
                  <a:moveTo>
                    <a:pt x="717" y="134"/>
                  </a:moveTo>
                  <a:cubicBezTo>
                    <a:pt x="693" y="134"/>
                    <a:pt x="693" y="134"/>
                    <a:pt x="693" y="134"/>
                  </a:cubicBezTo>
                  <a:cubicBezTo>
                    <a:pt x="693" y="158"/>
                    <a:pt x="693" y="158"/>
                    <a:pt x="693" y="158"/>
                  </a:cubicBezTo>
                  <a:cubicBezTo>
                    <a:pt x="717" y="158"/>
                    <a:pt x="717" y="158"/>
                    <a:pt x="717" y="158"/>
                  </a:cubicBezTo>
                  <a:cubicBezTo>
                    <a:pt x="717" y="134"/>
                    <a:pt x="717" y="134"/>
                    <a:pt x="717" y="134"/>
                  </a:cubicBezTo>
                  <a:cubicBezTo>
                    <a:pt x="717" y="134"/>
                    <a:pt x="717" y="134"/>
                    <a:pt x="717" y="134"/>
                  </a:cubicBezTo>
                  <a:close/>
                  <a:moveTo>
                    <a:pt x="753" y="134"/>
                  </a:moveTo>
                  <a:cubicBezTo>
                    <a:pt x="729" y="134"/>
                    <a:pt x="729" y="134"/>
                    <a:pt x="729" y="134"/>
                  </a:cubicBezTo>
                  <a:cubicBezTo>
                    <a:pt x="729" y="158"/>
                    <a:pt x="729" y="158"/>
                    <a:pt x="729" y="158"/>
                  </a:cubicBezTo>
                  <a:cubicBezTo>
                    <a:pt x="753" y="158"/>
                    <a:pt x="753" y="158"/>
                    <a:pt x="753" y="158"/>
                  </a:cubicBezTo>
                  <a:cubicBezTo>
                    <a:pt x="753" y="134"/>
                    <a:pt x="753" y="134"/>
                    <a:pt x="753" y="134"/>
                  </a:cubicBezTo>
                  <a:cubicBezTo>
                    <a:pt x="753" y="134"/>
                    <a:pt x="753" y="134"/>
                    <a:pt x="753" y="134"/>
                  </a:cubicBezTo>
                  <a:close/>
                  <a:moveTo>
                    <a:pt x="717" y="100"/>
                  </a:moveTo>
                  <a:cubicBezTo>
                    <a:pt x="693" y="100"/>
                    <a:pt x="693" y="100"/>
                    <a:pt x="693" y="100"/>
                  </a:cubicBezTo>
                  <a:cubicBezTo>
                    <a:pt x="693" y="124"/>
                    <a:pt x="693" y="124"/>
                    <a:pt x="693" y="124"/>
                  </a:cubicBezTo>
                  <a:cubicBezTo>
                    <a:pt x="717" y="124"/>
                    <a:pt x="717" y="124"/>
                    <a:pt x="717" y="124"/>
                  </a:cubicBezTo>
                  <a:cubicBezTo>
                    <a:pt x="717" y="100"/>
                    <a:pt x="717" y="100"/>
                    <a:pt x="717" y="100"/>
                  </a:cubicBezTo>
                  <a:cubicBezTo>
                    <a:pt x="717" y="100"/>
                    <a:pt x="717" y="100"/>
                    <a:pt x="717" y="100"/>
                  </a:cubicBezTo>
                  <a:close/>
                  <a:moveTo>
                    <a:pt x="717" y="67"/>
                  </a:moveTo>
                  <a:cubicBezTo>
                    <a:pt x="693" y="67"/>
                    <a:pt x="693" y="67"/>
                    <a:pt x="693" y="67"/>
                  </a:cubicBezTo>
                  <a:cubicBezTo>
                    <a:pt x="693" y="90"/>
                    <a:pt x="693" y="90"/>
                    <a:pt x="693" y="90"/>
                  </a:cubicBezTo>
                  <a:cubicBezTo>
                    <a:pt x="717" y="90"/>
                    <a:pt x="717" y="90"/>
                    <a:pt x="717" y="90"/>
                  </a:cubicBezTo>
                  <a:cubicBezTo>
                    <a:pt x="717" y="67"/>
                    <a:pt x="717" y="67"/>
                    <a:pt x="717" y="67"/>
                  </a:cubicBezTo>
                  <a:cubicBezTo>
                    <a:pt x="717" y="67"/>
                    <a:pt x="717" y="67"/>
                    <a:pt x="717" y="67"/>
                  </a:cubicBezTo>
                  <a:close/>
                  <a:moveTo>
                    <a:pt x="425" y="67"/>
                  </a:moveTo>
                  <a:cubicBezTo>
                    <a:pt x="401" y="67"/>
                    <a:pt x="401" y="67"/>
                    <a:pt x="401" y="67"/>
                  </a:cubicBezTo>
                  <a:cubicBezTo>
                    <a:pt x="401" y="90"/>
                    <a:pt x="401" y="90"/>
                    <a:pt x="401" y="90"/>
                  </a:cubicBezTo>
                  <a:cubicBezTo>
                    <a:pt x="425" y="90"/>
                    <a:pt x="425" y="90"/>
                    <a:pt x="425" y="90"/>
                  </a:cubicBezTo>
                  <a:cubicBezTo>
                    <a:pt x="425" y="67"/>
                    <a:pt x="425" y="67"/>
                    <a:pt x="425" y="67"/>
                  </a:cubicBezTo>
                  <a:cubicBezTo>
                    <a:pt x="425" y="67"/>
                    <a:pt x="425" y="67"/>
                    <a:pt x="425" y="67"/>
                  </a:cubicBezTo>
                  <a:close/>
                  <a:moveTo>
                    <a:pt x="61" y="33"/>
                  </a:moveTo>
                  <a:cubicBezTo>
                    <a:pt x="37" y="33"/>
                    <a:pt x="37" y="33"/>
                    <a:pt x="37" y="33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3"/>
                  </a:cubicBezTo>
                  <a:close/>
                  <a:moveTo>
                    <a:pt x="170" y="33"/>
                  </a:moveTo>
                  <a:cubicBezTo>
                    <a:pt x="146" y="33"/>
                    <a:pt x="146" y="33"/>
                    <a:pt x="146" y="33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70" y="33"/>
                    <a:pt x="170" y="33"/>
                    <a:pt x="170" y="33"/>
                  </a:cubicBezTo>
                  <a:cubicBezTo>
                    <a:pt x="170" y="33"/>
                    <a:pt x="170" y="33"/>
                    <a:pt x="170" y="33"/>
                  </a:cubicBezTo>
                  <a:close/>
                  <a:moveTo>
                    <a:pt x="61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lose/>
                  <a:moveTo>
                    <a:pt x="823" y="368"/>
                  </a:moveTo>
                  <a:cubicBezTo>
                    <a:pt x="799" y="368"/>
                    <a:pt x="799" y="368"/>
                    <a:pt x="799" y="368"/>
                  </a:cubicBezTo>
                  <a:cubicBezTo>
                    <a:pt x="799" y="392"/>
                    <a:pt x="799" y="392"/>
                    <a:pt x="799" y="392"/>
                  </a:cubicBezTo>
                  <a:cubicBezTo>
                    <a:pt x="823" y="392"/>
                    <a:pt x="823" y="392"/>
                    <a:pt x="823" y="392"/>
                  </a:cubicBezTo>
                  <a:cubicBezTo>
                    <a:pt x="823" y="368"/>
                    <a:pt x="823" y="368"/>
                    <a:pt x="823" y="368"/>
                  </a:cubicBezTo>
                  <a:cubicBezTo>
                    <a:pt x="823" y="368"/>
                    <a:pt x="823" y="368"/>
                    <a:pt x="823" y="368"/>
                  </a:cubicBezTo>
                  <a:close/>
                  <a:moveTo>
                    <a:pt x="859" y="368"/>
                  </a:moveTo>
                  <a:cubicBezTo>
                    <a:pt x="835" y="368"/>
                    <a:pt x="835" y="368"/>
                    <a:pt x="835" y="368"/>
                  </a:cubicBezTo>
                  <a:cubicBezTo>
                    <a:pt x="835" y="392"/>
                    <a:pt x="835" y="392"/>
                    <a:pt x="835" y="392"/>
                  </a:cubicBezTo>
                  <a:cubicBezTo>
                    <a:pt x="859" y="392"/>
                    <a:pt x="859" y="392"/>
                    <a:pt x="859" y="392"/>
                  </a:cubicBezTo>
                  <a:cubicBezTo>
                    <a:pt x="859" y="368"/>
                    <a:pt x="859" y="368"/>
                    <a:pt x="859" y="368"/>
                  </a:cubicBezTo>
                  <a:cubicBezTo>
                    <a:pt x="859" y="368"/>
                    <a:pt x="859" y="368"/>
                    <a:pt x="859" y="368"/>
                  </a:cubicBezTo>
                  <a:close/>
                  <a:moveTo>
                    <a:pt x="895" y="368"/>
                  </a:moveTo>
                  <a:cubicBezTo>
                    <a:pt x="872" y="368"/>
                    <a:pt x="872" y="368"/>
                    <a:pt x="872" y="368"/>
                  </a:cubicBezTo>
                  <a:cubicBezTo>
                    <a:pt x="872" y="392"/>
                    <a:pt x="872" y="392"/>
                    <a:pt x="872" y="392"/>
                  </a:cubicBezTo>
                  <a:cubicBezTo>
                    <a:pt x="895" y="392"/>
                    <a:pt x="895" y="392"/>
                    <a:pt x="895" y="392"/>
                  </a:cubicBezTo>
                  <a:cubicBezTo>
                    <a:pt x="895" y="368"/>
                    <a:pt x="895" y="368"/>
                    <a:pt x="895" y="368"/>
                  </a:cubicBezTo>
                  <a:cubicBezTo>
                    <a:pt x="895" y="368"/>
                    <a:pt x="895" y="368"/>
                    <a:pt x="895" y="368"/>
                  </a:cubicBezTo>
                  <a:close/>
                  <a:moveTo>
                    <a:pt x="932" y="368"/>
                  </a:moveTo>
                  <a:cubicBezTo>
                    <a:pt x="909" y="368"/>
                    <a:pt x="909" y="368"/>
                    <a:pt x="909" y="368"/>
                  </a:cubicBezTo>
                  <a:cubicBezTo>
                    <a:pt x="909" y="392"/>
                    <a:pt x="909" y="392"/>
                    <a:pt x="909" y="392"/>
                  </a:cubicBezTo>
                  <a:cubicBezTo>
                    <a:pt x="932" y="392"/>
                    <a:pt x="932" y="392"/>
                    <a:pt x="932" y="392"/>
                  </a:cubicBezTo>
                  <a:cubicBezTo>
                    <a:pt x="932" y="368"/>
                    <a:pt x="932" y="368"/>
                    <a:pt x="932" y="368"/>
                  </a:cubicBezTo>
                  <a:cubicBezTo>
                    <a:pt x="932" y="368"/>
                    <a:pt x="932" y="368"/>
                    <a:pt x="932" y="368"/>
                  </a:cubicBezTo>
                  <a:close/>
                  <a:moveTo>
                    <a:pt x="823" y="335"/>
                  </a:moveTo>
                  <a:cubicBezTo>
                    <a:pt x="799" y="335"/>
                    <a:pt x="799" y="335"/>
                    <a:pt x="799" y="335"/>
                  </a:cubicBezTo>
                  <a:cubicBezTo>
                    <a:pt x="799" y="358"/>
                    <a:pt x="799" y="358"/>
                    <a:pt x="799" y="358"/>
                  </a:cubicBezTo>
                  <a:cubicBezTo>
                    <a:pt x="823" y="358"/>
                    <a:pt x="823" y="358"/>
                    <a:pt x="823" y="358"/>
                  </a:cubicBezTo>
                  <a:cubicBezTo>
                    <a:pt x="823" y="335"/>
                    <a:pt x="823" y="335"/>
                    <a:pt x="823" y="335"/>
                  </a:cubicBezTo>
                  <a:cubicBezTo>
                    <a:pt x="823" y="335"/>
                    <a:pt x="823" y="335"/>
                    <a:pt x="823" y="335"/>
                  </a:cubicBezTo>
                  <a:close/>
                  <a:moveTo>
                    <a:pt x="859" y="335"/>
                  </a:moveTo>
                  <a:cubicBezTo>
                    <a:pt x="835" y="335"/>
                    <a:pt x="835" y="335"/>
                    <a:pt x="835" y="335"/>
                  </a:cubicBezTo>
                  <a:cubicBezTo>
                    <a:pt x="835" y="358"/>
                    <a:pt x="835" y="358"/>
                    <a:pt x="835" y="358"/>
                  </a:cubicBezTo>
                  <a:cubicBezTo>
                    <a:pt x="859" y="358"/>
                    <a:pt x="859" y="358"/>
                    <a:pt x="859" y="358"/>
                  </a:cubicBezTo>
                  <a:cubicBezTo>
                    <a:pt x="859" y="335"/>
                    <a:pt x="859" y="335"/>
                    <a:pt x="859" y="335"/>
                  </a:cubicBezTo>
                  <a:cubicBezTo>
                    <a:pt x="859" y="335"/>
                    <a:pt x="859" y="335"/>
                    <a:pt x="859" y="335"/>
                  </a:cubicBezTo>
                  <a:close/>
                  <a:moveTo>
                    <a:pt x="895" y="335"/>
                  </a:moveTo>
                  <a:cubicBezTo>
                    <a:pt x="872" y="335"/>
                    <a:pt x="872" y="335"/>
                    <a:pt x="872" y="335"/>
                  </a:cubicBezTo>
                  <a:cubicBezTo>
                    <a:pt x="872" y="358"/>
                    <a:pt x="872" y="358"/>
                    <a:pt x="872" y="358"/>
                  </a:cubicBezTo>
                  <a:cubicBezTo>
                    <a:pt x="895" y="358"/>
                    <a:pt x="895" y="358"/>
                    <a:pt x="895" y="358"/>
                  </a:cubicBezTo>
                  <a:cubicBezTo>
                    <a:pt x="895" y="335"/>
                    <a:pt x="895" y="335"/>
                    <a:pt x="895" y="335"/>
                  </a:cubicBezTo>
                  <a:cubicBezTo>
                    <a:pt x="895" y="335"/>
                    <a:pt x="895" y="335"/>
                    <a:pt x="895" y="335"/>
                  </a:cubicBezTo>
                  <a:close/>
                  <a:moveTo>
                    <a:pt x="932" y="335"/>
                  </a:moveTo>
                  <a:cubicBezTo>
                    <a:pt x="909" y="335"/>
                    <a:pt x="909" y="335"/>
                    <a:pt x="909" y="335"/>
                  </a:cubicBezTo>
                  <a:cubicBezTo>
                    <a:pt x="909" y="358"/>
                    <a:pt x="909" y="358"/>
                    <a:pt x="909" y="358"/>
                  </a:cubicBezTo>
                  <a:cubicBezTo>
                    <a:pt x="932" y="358"/>
                    <a:pt x="932" y="358"/>
                    <a:pt x="932" y="358"/>
                  </a:cubicBezTo>
                  <a:cubicBezTo>
                    <a:pt x="932" y="335"/>
                    <a:pt x="932" y="335"/>
                    <a:pt x="932" y="335"/>
                  </a:cubicBezTo>
                  <a:cubicBezTo>
                    <a:pt x="932" y="335"/>
                    <a:pt x="932" y="335"/>
                    <a:pt x="932" y="335"/>
                  </a:cubicBezTo>
                  <a:close/>
                  <a:moveTo>
                    <a:pt x="823" y="301"/>
                  </a:moveTo>
                  <a:cubicBezTo>
                    <a:pt x="799" y="301"/>
                    <a:pt x="799" y="301"/>
                    <a:pt x="799" y="301"/>
                  </a:cubicBezTo>
                  <a:cubicBezTo>
                    <a:pt x="799" y="325"/>
                    <a:pt x="799" y="325"/>
                    <a:pt x="799" y="325"/>
                  </a:cubicBezTo>
                  <a:cubicBezTo>
                    <a:pt x="823" y="325"/>
                    <a:pt x="823" y="325"/>
                    <a:pt x="823" y="325"/>
                  </a:cubicBezTo>
                  <a:cubicBezTo>
                    <a:pt x="823" y="301"/>
                    <a:pt x="823" y="301"/>
                    <a:pt x="823" y="301"/>
                  </a:cubicBezTo>
                  <a:cubicBezTo>
                    <a:pt x="823" y="301"/>
                    <a:pt x="823" y="301"/>
                    <a:pt x="823" y="301"/>
                  </a:cubicBezTo>
                  <a:close/>
                  <a:moveTo>
                    <a:pt x="859" y="301"/>
                  </a:moveTo>
                  <a:cubicBezTo>
                    <a:pt x="835" y="301"/>
                    <a:pt x="835" y="301"/>
                    <a:pt x="835" y="301"/>
                  </a:cubicBezTo>
                  <a:cubicBezTo>
                    <a:pt x="835" y="325"/>
                    <a:pt x="835" y="325"/>
                    <a:pt x="835" y="325"/>
                  </a:cubicBezTo>
                  <a:cubicBezTo>
                    <a:pt x="859" y="325"/>
                    <a:pt x="859" y="325"/>
                    <a:pt x="859" y="325"/>
                  </a:cubicBezTo>
                  <a:cubicBezTo>
                    <a:pt x="859" y="301"/>
                    <a:pt x="859" y="301"/>
                    <a:pt x="859" y="301"/>
                  </a:cubicBezTo>
                  <a:cubicBezTo>
                    <a:pt x="859" y="301"/>
                    <a:pt x="859" y="301"/>
                    <a:pt x="859" y="301"/>
                  </a:cubicBezTo>
                  <a:close/>
                  <a:moveTo>
                    <a:pt x="895" y="301"/>
                  </a:moveTo>
                  <a:cubicBezTo>
                    <a:pt x="872" y="301"/>
                    <a:pt x="872" y="301"/>
                    <a:pt x="872" y="301"/>
                  </a:cubicBezTo>
                  <a:cubicBezTo>
                    <a:pt x="872" y="325"/>
                    <a:pt x="872" y="325"/>
                    <a:pt x="872" y="325"/>
                  </a:cubicBezTo>
                  <a:cubicBezTo>
                    <a:pt x="895" y="325"/>
                    <a:pt x="895" y="325"/>
                    <a:pt x="895" y="325"/>
                  </a:cubicBezTo>
                  <a:cubicBezTo>
                    <a:pt x="895" y="301"/>
                    <a:pt x="895" y="301"/>
                    <a:pt x="895" y="301"/>
                  </a:cubicBezTo>
                  <a:cubicBezTo>
                    <a:pt x="895" y="301"/>
                    <a:pt x="895" y="301"/>
                    <a:pt x="895" y="301"/>
                  </a:cubicBezTo>
                  <a:close/>
                  <a:moveTo>
                    <a:pt x="932" y="301"/>
                  </a:moveTo>
                  <a:cubicBezTo>
                    <a:pt x="909" y="301"/>
                    <a:pt x="909" y="301"/>
                    <a:pt x="909" y="301"/>
                  </a:cubicBezTo>
                  <a:cubicBezTo>
                    <a:pt x="909" y="325"/>
                    <a:pt x="909" y="325"/>
                    <a:pt x="909" y="325"/>
                  </a:cubicBezTo>
                  <a:cubicBezTo>
                    <a:pt x="932" y="325"/>
                    <a:pt x="932" y="325"/>
                    <a:pt x="932" y="325"/>
                  </a:cubicBezTo>
                  <a:cubicBezTo>
                    <a:pt x="932" y="301"/>
                    <a:pt x="932" y="301"/>
                    <a:pt x="932" y="301"/>
                  </a:cubicBezTo>
                  <a:cubicBezTo>
                    <a:pt x="932" y="301"/>
                    <a:pt x="932" y="301"/>
                    <a:pt x="932" y="301"/>
                  </a:cubicBezTo>
                  <a:close/>
                  <a:moveTo>
                    <a:pt x="823" y="268"/>
                  </a:moveTo>
                  <a:cubicBezTo>
                    <a:pt x="799" y="268"/>
                    <a:pt x="799" y="268"/>
                    <a:pt x="799" y="268"/>
                  </a:cubicBezTo>
                  <a:cubicBezTo>
                    <a:pt x="799" y="291"/>
                    <a:pt x="799" y="291"/>
                    <a:pt x="799" y="291"/>
                  </a:cubicBezTo>
                  <a:cubicBezTo>
                    <a:pt x="823" y="291"/>
                    <a:pt x="823" y="291"/>
                    <a:pt x="823" y="291"/>
                  </a:cubicBezTo>
                  <a:cubicBezTo>
                    <a:pt x="823" y="268"/>
                    <a:pt x="823" y="268"/>
                    <a:pt x="823" y="268"/>
                  </a:cubicBezTo>
                  <a:cubicBezTo>
                    <a:pt x="823" y="268"/>
                    <a:pt x="823" y="268"/>
                    <a:pt x="823" y="268"/>
                  </a:cubicBezTo>
                  <a:close/>
                  <a:moveTo>
                    <a:pt x="859" y="268"/>
                  </a:moveTo>
                  <a:cubicBezTo>
                    <a:pt x="835" y="268"/>
                    <a:pt x="835" y="268"/>
                    <a:pt x="835" y="268"/>
                  </a:cubicBezTo>
                  <a:cubicBezTo>
                    <a:pt x="835" y="291"/>
                    <a:pt x="835" y="291"/>
                    <a:pt x="835" y="291"/>
                  </a:cubicBezTo>
                  <a:cubicBezTo>
                    <a:pt x="859" y="291"/>
                    <a:pt x="859" y="291"/>
                    <a:pt x="859" y="291"/>
                  </a:cubicBezTo>
                  <a:cubicBezTo>
                    <a:pt x="859" y="268"/>
                    <a:pt x="859" y="268"/>
                    <a:pt x="859" y="268"/>
                  </a:cubicBezTo>
                  <a:cubicBezTo>
                    <a:pt x="859" y="268"/>
                    <a:pt x="859" y="268"/>
                    <a:pt x="859" y="268"/>
                  </a:cubicBezTo>
                  <a:close/>
                  <a:moveTo>
                    <a:pt x="895" y="268"/>
                  </a:moveTo>
                  <a:cubicBezTo>
                    <a:pt x="872" y="268"/>
                    <a:pt x="872" y="268"/>
                    <a:pt x="872" y="268"/>
                  </a:cubicBezTo>
                  <a:cubicBezTo>
                    <a:pt x="872" y="291"/>
                    <a:pt x="872" y="291"/>
                    <a:pt x="872" y="291"/>
                  </a:cubicBezTo>
                  <a:cubicBezTo>
                    <a:pt x="895" y="291"/>
                    <a:pt x="895" y="291"/>
                    <a:pt x="895" y="291"/>
                  </a:cubicBezTo>
                  <a:cubicBezTo>
                    <a:pt x="895" y="268"/>
                    <a:pt x="895" y="268"/>
                    <a:pt x="895" y="268"/>
                  </a:cubicBezTo>
                  <a:cubicBezTo>
                    <a:pt x="895" y="268"/>
                    <a:pt x="895" y="268"/>
                    <a:pt x="895" y="268"/>
                  </a:cubicBezTo>
                  <a:close/>
                  <a:moveTo>
                    <a:pt x="932" y="268"/>
                  </a:moveTo>
                  <a:cubicBezTo>
                    <a:pt x="909" y="268"/>
                    <a:pt x="909" y="268"/>
                    <a:pt x="909" y="268"/>
                  </a:cubicBezTo>
                  <a:cubicBezTo>
                    <a:pt x="909" y="291"/>
                    <a:pt x="909" y="291"/>
                    <a:pt x="909" y="291"/>
                  </a:cubicBezTo>
                  <a:cubicBezTo>
                    <a:pt x="932" y="291"/>
                    <a:pt x="932" y="291"/>
                    <a:pt x="932" y="291"/>
                  </a:cubicBezTo>
                  <a:cubicBezTo>
                    <a:pt x="932" y="268"/>
                    <a:pt x="932" y="268"/>
                    <a:pt x="932" y="268"/>
                  </a:cubicBezTo>
                  <a:cubicBezTo>
                    <a:pt x="932" y="268"/>
                    <a:pt x="932" y="268"/>
                    <a:pt x="932" y="268"/>
                  </a:cubicBezTo>
                  <a:close/>
                  <a:moveTo>
                    <a:pt x="823" y="234"/>
                  </a:moveTo>
                  <a:cubicBezTo>
                    <a:pt x="799" y="234"/>
                    <a:pt x="799" y="234"/>
                    <a:pt x="799" y="234"/>
                  </a:cubicBezTo>
                  <a:cubicBezTo>
                    <a:pt x="799" y="258"/>
                    <a:pt x="799" y="258"/>
                    <a:pt x="799" y="258"/>
                  </a:cubicBezTo>
                  <a:cubicBezTo>
                    <a:pt x="823" y="258"/>
                    <a:pt x="823" y="258"/>
                    <a:pt x="823" y="258"/>
                  </a:cubicBezTo>
                  <a:cubicBezTo>
                    <a:pt x="823" y="234"/>
                    <a:pt x="823" y="234"/>
                    <a:pt x="823" y="234"/>
                  </a:cubicBezTo>
                  <a:cubicBezTo>
                    <a:pt x="823" y="234"/>
                    <a:pt x="823" y="234"/>
                    <a:pt x="823" y="234"/>
                  </a:cubicBezTo>
                  <a:close/>
                  <a:moveTo>
                    <a:pt x="859" y="234"/>
                  </a:moveTo>
                  <a:cubicBezTo>
                    <a:pt x="835" y="234"/>
                    <a:pt x="835" y="234"/>
                    <a:pt x="835" y="234"/>
                  </a:cubicBezTo>
                  <a:cubicBezTo>
                    <a:pt x="835" y="258"/>
                    <a:pt x="835" y="258"/>
                    <a:pt x="835" y="258"/>
                  </a:cubicBezTo>
                  <a:cubicBezTo>
                    <a:pt x="859" y="258"/>
                    <a:pt x="859" y="258"/>
                    <a:pt x="859" y="258"/>
                  </a:cubicBezTo>
                  <a:cubicBezTo>
                    <a:pt x="859" y="234"/>
                    <a:pt x="859" y="234"/>
                    <a:pt x="859" y="234"/>
                  </a:cubicBezTo>
                  <a:cubicBezTo>
                    <a:pt x="859" y="234"/>
                    <a:pt x="859" y="234"/>
                    <a:pt x="859" y="234"/>
                  </a:cubicBezTo>
                  <a:close/>
                  <a:moveTo>
                    <a:pt x="895" y="234"/>
                  </a:moveTo>
                  <a:cubicBezTo>
                    <a:pt x="872" y="234"/>
                    <a:pt x="872" y="234"/>
                    <a:pt x="872" y="234"/>
                  </a:cubicBezTo>
                  <a:cubicBezTo>
                    <a:pt x="872" y="258"/>
                    <a:pt x="872" y="258"/>
                    <a:pt x="872" y="258"/>
                  </a:cubicBezTo>
                  <a:cubicBezTo>
                    <a:pt x="895" y="258"/>
                    <a:pt x="895" y="258"/>
                    <a:pt x="895" y="258"/>
                  </a:cubicBezTo>
                  <a:cubicBezTo>
                    <a:pt x="895" y="234"/>
                    <a:pt x="895" y="234"/>
                    <a:pt x="895" y="234"/>
                  </a:cubicBezTo>
                  <a:cubicBezTo>
                    <a:pt x="895" y="234"/>
                    <a:pt x="895" y="234"/>
                    <a:pt x="895" y="234"/>
                  </a:cubicBezTo>
                  <a:close/>
                  <a:moveTo>
                    <a:pt x="932" y="234"/>
                  </a:moveTo>
                  <a:cubicBezTo>
                    <a:pt x="909" y="234"/>
                    <a:pt x="909" y="234"/>
                    <a:pt x="909" y="234"/>
                  </a:cubicBezTo>
                  <a:cubicBezTo>
                    <a:pt x="909" y="258"/>
                    <a:pt x="909" y="258"/>
                    <a:pt x="909" y="258"/>
                  </a:cubicBezTo>
                  <a:cubicBezTo>
                    <a:pt x="932" y="258"/>
                    <a:pt x="932" y="258"/>
                    <a:pt x="932" y="258"/>
                  </a:cubicBezTo>
                  <a:cubicBezTo>
                    <a:pt x="932" y="234"/>
                    <a:pt x="932" y="234"/>
                    <a:pt x="932" y="234"/>
                  </a:cubicBezTo>
                  <a:cubicBezTo>
                    <a:pt x="932" y="234"/>
                    <a:pt x="932" y="234"/>
                    <a:pt x="932" y="234"/>
                  </a:cubicBezTo>
                  <a:close/>
                  <a:moveTo>
                    <a:pt x="823" y="201"/>
                  </a:moveTo>
                  <a:cubicBezTo>
                    <a:pt x="799" y="201"/>
                    <a:pt x="799" y="201"/>
                    <a:pt x="799" y="201"/>
                  </a:cubicBezTo>
                  <a:cubicBezTo>
                    <a:pt x="799" y="225"/>
                    <a:pt x="799" y="225"/>
                    <a:pt x="799" y="225"/>
                  </a:cubicBezTo>
                  <a:cubicBezTo>
                    <a:pt x="823" y="225"/>
                    <a:pt x="823" y="225"/>
                    <a:pt x="823" y="225"/>
                  </a:cubicBezTo>
                  <a:cubicBezTo>
                    <a:pt x="823" y="201"/>
                    <a:pt x="823" y="201"/>
                    <a:pt x="823" y="201"/>
                  </a:cubicBezTo>
                  <a:cubicBezTo>
                    <a:pt x="823" y="201"/>
                    <a:pt x="823" y="201"/>
                    <a:pt x="823" y="201"/>
                  </a:cubicBezTo>
                  <a:close/>
                  <a:moveTo>
                    <a:pt x="859" y="201"/>
                  </a:moveTo>
                  <a:cubicBezTo>
                    <a:pt x="835" y="201"/>
                    <a:pt x="835" y="201"/>
                    <a:pt x="835" y="201"/>
                  </a:cubicBezTo>
                  <a:cubicBezTo>
                    <a:pt x="835" y="225"/>
                    <a:pt x="835" y="225"/>
                    <a:pt x="835" y="225"/>
                  </a:cubicBezTo>
                  <a:cubicBezTo>
                    <a:pt x="859" y="225"/>
                    <a:pt x="859" y="225"/>
                    <a:pt x="859" y="225"/>
                  </a:cubicBezTo>
                  <a:cubicBezTo>
                    <a:pt x="859" y="201"/>
                    <a:pt x="859" y="201"/>
                    <a:pt x="859" y="201"/>
                  </a:cubicBezTo>
                  <a:cubicBezTo>
                    <a:pt x="859" y="201"/>
                    <a:pt x="859" y="201"/>
                    <a:pt x="859" y="201"/>
                  </a:cubicBezTo>
                  <a:close/>
                  <a:moveTo>
                    <a:pt x="895" y="201"/>
                  </a:moveTo>
                  <a:cubicBezTo>
                    <a:pt x="872" y="201"/>
                    <a:pt x="872" y="201"/>
                    <a:pt x="872" y="201"/>
                  </a:cubicBezTo>
                  <a:cubicBezTo>
                    <a:pt x="872" y="225"/>
                    <a:pt x="872" y="225"/>
                    <a:pt x="872" y="225"/>
                  </a:cubicBezTo>
                  <a:cubicBezTo>
                    <a:pt x="895" y="225"/>
                    <a:pt x="895" y="225"/>
                    <a:pt x="895" y="225"/>
                  </a:cubicBezTo>
                  <a:cubicBezTo>
                    <a:pt x="895" y="201"/>
                    <a:pt x="895" y="201"/>
                    <a:pt x="895" y="201"/>
                  </a:cubicBezTo>
                  <a:cubicBezTo>
                    <a:pt x="895" y="201"/>
                    <a:pt x="895" y="201"/>
                    <a:pt x="895" y="201"/>
                  </a:cubicBezTo>
                  <a:close/>
                  <a:moveTo>
                    <a:pt x="932" y="201"/>
                  </a:moveTo>
                  <a:cubicBezTo>
                    <a:pt x="909" y="201"/>
                    <a:pt x="909" y="201"/>
                    <a:pt x="909" y="201"/>
                  </a:cubicBezTo>
                  <a:cubicBezTo>
                    <a:pt x="909" y="225"/>
                    <a:pt x="909" y="225"/>
                    <a:pt x="909" y="225"/>
                  </a:cubicBezTo>
                  <a:cubicBezTo>
                    <a:pt x="932" y="225"/>
                    <a:pt x="932" y="225"/>
                    <a:pt x="932" y="225"/>
                  </a:cubicBezTo>
                  <a:cubicBezTo>
                    <a:pt x="932" y="201"/>
                    <a:pt x="932" y="201"/>
                    <a:pt x="932" y="201"/>
                  </a:cubicBezTo>
                  <a:cubicBezTo>
                    <a:pt x="932" y="201"/>
                    <a:pt x="932" y="201"/>
                    <a:pt x="932" y="201"/>
                  </a:cubicBezTo>
                  <a:close/>
                  <a:moveTo>
                    <a:pt x="823" y="168"/>
                  </a:moveTo>
                  <a:cubicBezTo>
                    <a:pt x="799" y="168"/>
                    <a:pt x="799" y="168"/>
                    <a:pt x="799" y="168"/>
                  </a:cubicBezTo>
                  <a:cubicBezTo>
                    <a:pt x="799" y="191"/>
                    <a:pt x="799" y="191"/>
                    <a:pt x="799" y="191"/>
                  </a:cubicBezTo>
                  <a:cubicBezTo>
                    <a:pt x="823" y="191"/>
                    <a:pt x="823" y="191"/>
                    <a:pt x="823" y="191"/>
                  </a:cubicBezTo>
                  <a:cubicBezTo>
                    <a:pt x="823" y="168"/>
                    <a:pt x="823" y="168"/>
                    <a:pt x="823" y="168"/>
                  </a:cubicBezTo>
                  <a:cubicBezTo>
                    <a:pt x="823" y="168"/>
                    <a:pt x="823" y="168"/>
                    <a:pt x="823" y="168"/>
                  </a:cubicBezTo>
                  <a:close/>
                  <a:moveTo>
                    <a:pt x="859" y="168"/>
                  </a:moveTo>
                  <a:cubicBezTo>
                    <a:pt x="835" y="168"/>
                    <a:pt x="835" y="168"/>
                    <a:pt x="835" y="168"/>
                  </a:cubicBezTo>
                  <a:cubicBezTo>
                    <a:pt x="835" y="191"/>
                    <a:pt x="835" y="191"/>
                    <a:pt x="835" y="191"/>
                  </a:cubicBezTo>
                  <a:cubicBezTo>
                    <a:pt x="859" y="191"/>
                    <a:pt x="859" y="191"/>
                    <a:pt x="859" y="191"/>
                  </a:cubicBezTo>
                  <a:cubicBezTo>
                    <a:pt x="859" y="168"/>
                    <a:pt x="859" y="168"/>
                    <a:pt x="859" y="168"/>
                  </a:cubicBezTo>
                  <a:cubicBezTo>
                    <a:pt x="859" y="168"/>
                    <a:pt x="859" y="168"/>
                    <a:pt x="859" y="168"/>
                  </a:cubicBezTo>
                  <a:close/>
                  <a:moveTo>
                    <a:pt x="895" y="168"/>
                  </a:moveTo>
                  <a:cubicBezTo>
                    <a:pt x="872" y="168"/>
                    <a:pt x="872" y="168"/>
                    <a:pt x="872" y="168"/>
                  </a:cubicBezTo>
                  <a:cubicBezTo>
                    <a:pt x="872" y="191"/>
                    <a:pt x="872" y="191"/>
                    <a:pt x="872" y="191"/>
                  </a:cubicBezTo>
                  <a:cubicBezTo>
                    <a:pt x="895" y="191"/>
                    <a:pt x="895" y="191"/>
                    <a:pt x="895" y="191"/>
                  </a:cubicBezTo>
                  <a:cubicBezTo>
                    <a:pt x="895" y="168"/>
                    <a:pt x="895" y="168"/>
                    <a:pt x="895" y="168"/>
                  </a:cubicBezTo>
                  <a:cubicBezTo>
                    <a:pt x="895" y="168"/>
                    <a:pt x="895" y="168"/>
                    <a:pt x="895" y="168"/>
                  </a:cubicBezTo>
                  <a:close/>
                  <a:moveTo>
                    <a:pt x="932" y="168"/>
                  </a:moveTo>
                  <a:cubicBezTo>
                    <a:pt x="909" y="168"/>
                    <a:pt x="909" y="168"/>
                    <a:pt x="909" y="168"/>
                  </a:cubicBezTo>
                  <a:cubicBezTo>
                    <a:pt x="909" y="191"/>
                    <a:pt x="909" y="191"/>
                    <a:pt x="909" y="191"/>
                  </a:cubicBezTo>
                  <a:cubicBezTo>
                    <a:pt x="932" y="191"/>
                    <a:pt x="932" y="191"/>
                    <a:pt x="932" y="191"/>
                  </a:cubicBezTo>
                  <a:cubicBezTo>
                    <a:pt x="932" y="168"/>
                    <a:pt x="932" y="168"/>
                    <a:pt x="932" y="168"/>
                  </a:cubicBezTo>
                  <a:cubicBezTo>
                    <a:pt x="932" y="168"/>
                    <a:pt x="932" y="168"/>
                    <a:pt x="932" y="168"/>
                  </a:cubicBezTo>
                  <a:close/>
                  <a:moveTo>
                    <a:pt x="823" y="134"/>
                  </a:moveTo>
                  <a:cubicBezTo>
                    <a:pt x="799" y="134"/>
                    <a:pt x="799" y="134"/>
                    <a:pt x="799" y="134"/>
                  </a:cubicBezTo>
                  <a:cubicBezTo>
                    <a:pt x="799" y="158"/>
                    <a:pt x="799" y="158"/>
                    <a:pt x="799" y="158"/>
                  </a:cubicBezTo>
                  <a:cubicBezTo>
                    <a:pt x="823" y="158"/>
                    <a:pt x="823" y="158"/>
                    <a:pt x="823" y="158"/>
                  </a:cubicBezTo>
                  <a:cubicBezTo>
                    <a:pt x="823" y="134"/>
                    <a:pt x="823" y="134"/>
                    <a:pt x="823" y="134"/>
                  </a:cubicBezTo>
                  <a:cubicBezTo>
                    <a:pt x="823" y="134"/>
                    <a:pt x="823" y="134"/>
                    <a:pt x="823" y="134"/>
                  </a:cubicBezTo>
                  <a:close/>
                  <a:moveTo>
                    <a:pt x="895" y="134"/>
                  </a:moveTo>
                  <a:cubicBezTo>
                    <a:pt x="872" y="134"/>
                    <a:pt x="872" y="134"/>
                    <a:pt x="872" y="134"/>
                  </a:cubicBezTo>
                  <a:cubicBezTo>
                    <a:pt x="872" y="158"/>
                    <a:pt x="872" y="158"/>
                    <a:pt x="872" y="158"/>
                  </a:cubicBezTo>
                  <a:cubicBezTo>
                    <a:pt x="895" y="158"/>
                    <a:pt x="895" y="158"/>
                    <a:pt x="895" y="158"/>
                  </a:cubicBezTo>
                  <a:cubicBezTo>
                    <a:pt x="895" y="134"/>
                    <a:pt x="895" y="134"/>
                    <a:pt x="895" y="134"/>
                  </a:cubicBezTo>
                  <a:cubicBezTo>
                    <a:pt x="895" y="134"/>
                    <a:pt x="895" y="134"/>
                    <a:pt x="895" y="134"/>
                  </a:cubicBezTo>
                  <a:close/>
                  <a:moveTo>
                    <a:pt x="932" y="134"/>
                  </a:moveTo>
                  <a:cubicBezTo>
                    <a:pt x="909" y="134"/>
                    <a:pt x="909" y="134"/>
                    <a:pt x="909" y="134"/>
                  </a:cubicBezTo>
                  <a:cubicBezTo>
                    <a:pt x="909" y="158"/>
                    <a:pt x="909" y="158"/>
                    <a:pt x="909" y="158"/>
                  </a:cubicBezTo>
                  <a:cubicBezTo>
                    <a:pt x="932" y="158"/>
                    <a:pt x="932" y="158"/>
                    <a:pt x="932" y="158"/>
                  </a:cubicBezTo>
                  <a:cubicBezTo>
                    <a:pt x="932" y="134"/>
                    <a:pt x="932" y="134"/>
                    <a:pt x="932" y="134"/>
                  </a:cubicBezTo>
                  <a:cubicBezTo>
                    <a:pt x="932" y="134"/>
                    <a:pt x="932" y="134"/>
                    <a:pt x="932" y="134"/>
                  </a:cubicBezTo>
                  <a:close/>
                  <a:moveTo>
                    <a:pt x="823" y="100"/>
                  </a:moveTo>
                  <a:cubicBezTo>
                    <a:pt x="799" y="100"/>
                    <a:pt x="799" y="100"/>
                    <a:pt x="799" y="100"/>
                  </a:cubicBezTo>
                  <a:cubicBezTo>
                    <a:pt x="799" y="124"/>
                    <a:pt x="799" y="124"/>
                    <a:pt x="799" y="124"/>
                  </a:cubicBezTo>
                  <a:cubicBezTo>
                    <a:pt x="823" y="124"/>
                    <a:pt x="823" y="124"/>
                    <a:pt x="823" y="124"/>
                  </a:cubicBezTo>
                  <a:cubicBezTo>
                    <a:pt x="823" y="100"/>
                    <a:pt x="823" y="100"/>
                    <a:pt x="823" y="100"/>
                  </a:cubicBezTo>
                  <a:cubicBezTo>
                    <a:pt x="823" y="100"/>
                    <a:pt x="823" y="100"/>
                    <a:pt x="823" y="100"/>
                  </a:cubicBezTo>
                  <a:close/>
                  <a:moveTo>
                    <a:pt x="895" y="100"/>
                  </a:moveTo>
                  <a:cubicBezTo>
                    <a:pt x="872" y="100"/>
                    <a:pt x="872" y="100"/>
                    <a:pt x="872" y="100"/>
                  </a:cubicBezTo>
                  <a:cubicBezTo>
                    <a:pt x="872" y="124"/>
                    <a:pt x="872" y="124"/>
                    <a:pt x="872" y="124"/>
                  </a:cubicBezTo>
                  <a:cubicBezTo>
                    <a:pt x="895" y="124"/>
                    <a:pt x="895" y="124"/>
                    <a:pt x="895" y="124"/>
                  </a:cubicBezTo>
                  <a:cubicBezTo>
                    <a:pt x="895" y="100"/>
                    <a:pt x="895" y="100"/>
                    <a:pt x="895" y="100"/>
                  </a:cubicBezTo>
                  <a:cubicBezTo>
                    <a:pt x="895" y="100"/>
                    <a:pt x="895" y="100"/>
                    <a:pt x="895" y="100"/>
                  </a:cubicBezTo>
                  <a:close/>
                  <a:moveTo>
                    <a:pt x="932" y="100"/>
                  </a:moveTo>
                  <a:cubicBezTo>
                    <a:pt x="909" y="100"/>
                    <a:pt x="909" y="100"/>
                    <a:pt x="909" y="100"/>
                  </a:cubicBezTo>
                  <a:cubicBezTo>
                    <a:pt x="909" y="124"/>
                    <a:pt x="909" y="124"/>
                    <a:pt x="909" y="124"/>
                  </a:cubicBezTo>
                  <a:cubicBezTo>
                    <a:pt x="932" y="124"/>
                    <a:pt x="932" y="124"/>
                    <a:pt x="932" y="124"/>
                  </a:cubicBezTo>
                  <a:cubicBezTo>
                    <a:pt x="932" y="100"/>
                    <a:pt x="932" y="100"/>
                    <a:pt x="932" y="100"/>
                  </a:cubicBezTo>
                  <a:cubicBezTo>
                    <a:pt x="932" y="100"/>
                    <a:pt x="932" y="100"/>
                    <a:pt x="932" y="100"/>
                  </a:cubicBezTo>
                  <a:close/>
                  <a:moveTo>
                    <a:pt x="823" y="67"/>
                  </a:moveTo>
                  <a:cubicBezTo>
                    <a:pt x="799" y="67"/>
                    <a:pt x="799" y="67"/>
                    <a:pt x="799" y="67"/>
                  </a:cubicBezTo>
                  <a:cubicBezTo>
                    <a:pt x="799" y="90"/>
                    <a:pt x="799" y="90"/>
                    <a:pt x="799" y="90"/>
                  </a:cubicBezTo>
                  <a:cubicBezTo>
                    <a:pt x="823" y="90"/>
                    <a:pt x="823" y="90"/>
                    <a:pt x="823" y="90"/>
                  </a:cubicBezTo>
                  <a:cubicBezTo>
                    <a:pt x="823" y="67"/>
                    <a:pt x="823" y="67"/>
                    <a:pt x="823" y="67"/>
                  </a:cubicBezTo>
                  <a:cubicBezTo>
                    <a:pt x="823" y="67"/>
                    <a:pt x="823" y="67"/>
                    <a:pt x="823" y="67"/>
                  </a:cubicBezTo>
                  <a:close/>
                  <a:moveTo>
                    <a:pt x="932" y="67"/>
                  </a:moveTo>
                  <a:cubicBezTo>
                    <a:pt x="909" y="67"/>
                    <a:pt x="909" y="67"/>
                    <a:pt x="909" y="67"/>
                  </a:cubicBezTo>
                  <a:cubicBezTo>
                    <a:pt x="909" y="90"/>
                    <a:pt x="909" y="90"/>
                    <a:pt x="909" y="90"/>
                  </a:cubicBezTo>
                  <a:cubicBezTo>
                    <a:pt x="932" y="90"/>
                    <a:pt x="932" y="90"/>
                    <a:pt x="932" y="90"/>
                  </a:cubicBezTo>
                  <a:cubicBezTo>
                    <a:pt x="932" y="67"/>
                    <a:pt x="932" y="67"/>
                    <a:pt x="932" y="67"/>
                  </a:cubicBezTo>
                  <a:cubicBezTo>
                    <a:pt x="932" y="67"/>
                    <a:pt x="932" y="67"/>
                    <a:pt x="932" y="67"/>
                  </a:cubicBezTo>
                  <a:close/>
                  <a:moveTo>
                    <a:pt x="823" y="33"/>
                  </a:moveTo>
                  <a:cubicBezTo>
                    <a:pt x="799" y="33"/>
                    <a:pt x="799" y="33"/>
                    <a:pt x="799" y="33"/>
                  </a:cubicBezTo>
                  <a:cubicBezTo>
                    <a:pt x="799" y="57"/>
                    <a:pt x="799" y="57"/>
                    <a:pt x="799" y="57"/>
                  </a:cubicBezTo>
                  <a:cubicBezTo>
                    <a:pt x="823" y="57"/>
                    <a:pt x="823" y="57"/>
                    <a:pt x="823" y="57"/>
                  </a:cubicBezTo>
                  <a:cubicBezTo>
                    <a:pt x="823" y="33"/>
                    <a:pt x="823" y="33"/>
                    <a:pt x="823" y="33"/>
                  </a:cubicBezTo>
                  <a:cubicBezTo>
                    <a:pt x="823" y="33"/>
                    <a:pt x="823" y="33"/>
                    <a:pt x="823" y="33"/>
                  </a:cubicBezTo>
                  <a:close/>
                  <a:moveTo>
                    <a:pt x="932" y="33"/>
                  </a:moveTo>
                  <a:cubicBezTo>
                    <a:pt x="909" y="33"/>
                    <a:pt x="909" y="33"/>
                    <a:pt x="909" y="33"/>
                  </a:cubicBezTo>
                  <a:cubicBezTo>
                    <a:pt x="909" y="57"/>
                    <a:pt x="909" y="57"/>
                    <a:pt x="909" y="57"/>
                  </a:cubicBezTo>
                  <a:cubicBezTo>
                    <a:pt x="932" y="57"/>
                    <a:pt x="932" y="57"/>
                    <a:pt x="932" y="57"/>
                  </a:cubicBezTo>
                  <a:cubicBezTo>
                    <a:pt x="932" y="33"/>
                    <a:pt x="932" y="33"/>
                    <a:pt x="932" y="33"/>
                  </a:cubicBezTo>
                  <a:cubicBezTo>
                    <a:pt x="932" y="33"/>
                    <a:pt x="932" y="33"/>
                    <a:pt x="932" y="33"/>
                  </a:cubicBezTo>
                  <a:close/>
                  <a:moveTo>
                    <a:pt x="823" y="0"/>
                  </a:moveTo>
                  <a:cubicBezTo>
                    <a:pt x="799" y="0"/>
                    <a:pt x="799" y="0"/>
                    <a:pt x="799" y="0"/>
                  </a:cubicBezTo>
                  <a:cubicBezTo>
                    <a:pt x="799" y="24"/>
                    <a:pt x="799" y="24"/>
                    <a:pt x="799" y="24"/>
                  </a:cubicBezTo>
                  <a:cubicBezTo>
                    <a:pt x="823" y="24"/>
                    <a:pt x="823" y="24"/>
                    <a:pt x="823" y="24"/>
                  </a:cubicBezTo>
                  <a:cubicBezTo>
                    <a:pt x="823" y="0"/>
                    <a:pt x="823" y="0"/>
                    <a:pt x="823" y="0"/>
                  </a:cubicBezTo>
                  <a:cubicBezTo>
                    <a:pt x="823" y="0"/>
                    <a:pt x="823" y="0"/>
                    <a:pt x="823" y="0"/>
                  </a:cubicBezTo>
                  <a:close/>
                  <a:moveTo>
                    <a:pt x="460" y="368"/>
                  </a:moveTo>
                  <a:cubicBezTo>
                    <a:pt x="437" y="368"/>
                    <a:pt x="437" y="368"/>
                    <a:pt x="437" y="368"/>
                  </a:cubicBezTo>
                  <a:cubicBezTo>
                    <a:pt x="437" y="392"/>
                    <a:pt x="437" y="392"/>
                    <a:pt x="437" y="392"/>
                  </a:cubicBezTo>
                  <a:cubicBezTo>
                    <a:pt x="460" y="392"/>
                    <a:pt x="460" y="392"/>
                    <a:pt x="460" y="392"/>
                  </a:cubicBezTo>
                  <a:cubicBezTo>
                    <a:pt x="460" y="368"/>
                    <a:pt x="460" y="368"/>
                    <a:pt x="460" y="368"/>
                  </a:cubicBezTo>
                  <a:cubicBezTo>
                    <a:pt x="460" y="368"/>
                    <a:pt x="460" y="368"/>
                    <a:pt x="460" y="368"/>
                  </a:cubicBezTo>
                  <a:close/>
                  <a:moveTo>
                    <a:pt x="497" y="368"/>
                  </a:moveTo>
                  <a:cubicBezTo>
                    <a:pt x="473" y="368"/>
                    <a:pt x="473" y="368"/>
                    <a:pt x="473" y="368"/>
                  </a:cubicBezTo>
                  <a:cubicBezTo>
                    <a:pt x="473" y="392"/>
                    <a:pt x="473" y="392"/>
                    <a:pt x="473" y="392"/>
                  </a:cubicBezTo>
                  <a:cubicBezTo>
                    <a:pt x="497" y="392"/>
                    <a:pt x="497" y="392"/>
                    <a:pt x="497" y="392"/>
                  </a:cubicBezTo>
                  <a:cubicBezTo>
                    <a:pt x="497" y="368"/>
                    <a:pt x="497" y="368"/>
                    <a:pt x="497" y="368"/>
                  </a:cubicBezTo>
                  <a:cubicBezTo>
                    <a:pt x="497" y="368"/>
                    <a:pt x="497" y="368"/>
                    <a:pt x="497" y="368"/>
                  </a:cubicBezTo>
                  <a:close/>
                  <a:moveTo>
                    <a:pt x="460" y="335"/>
                  </a:moveTo>
                  <a:cubicBezTo>
                    <a:pt x="437" y="335"/>
                    <a:pt x="437" y="335"/>
                    <a:pt x="437" y="335"/>
                  </a:cubicBezTo>
                  <a:cubicBezTo>
                    <a:pt x="437" y="358"/>
                    <a:pt x="437" y="358"/>
                    <a:pt x="437" y="358"/>
                  </a:cubicBezTo>
                  <a:cubicBezTo>
                    <a:pt x="460" y="358"/>
                    <a:pt x="460" y="358"/>
                    <a:pt x="460" y="358"/>
                  </a:cubicBezTo>
                  <a:cubicBezTo>
                    <a:pt x="460" y="335"/>
                    <a:pt x="460" y="335"/>
                    <a:pt x="460" y="335"/>
                  </a:cubicBezTo>
                  <a:cubicBezTo>
                    <a:pt x="460" y="335"/>
                    <a:pt x="460" y="335"/>
                    <a:pt x="460" y="335"/>
                  </a:cubicBezTo>
                  <a:close/>
                  <a:moveTo>
                    <a:pt x="497" y="335"/>
                  </a:moveTo>
                  <a:cubicBezTo>
                    <a:pt x="473" y="335"/>
                    <a:pt x="473" y="335"/>
                    <a:pt x="473" y="335"/>
                  </a:cubicBezTo>
                  <a:cubicBezTo>
                    <a:pt x="473" y="358"/>
                    <a:pt x="473" y="358"/>
                    <a:pt x="473" y="358"/>
                  </a:cubicBezTo>
                  <a:cubicBezTo>
                    <a:pt x="497" y="358"/>
                    <a:pt x="497" y="358"/>
                    <a:pt x="497" y="358"/>
                  </a:cubicBezTo>
                  <a:cubicBezTo>
                    <a:pt x="497" y="335"/>
                    <a:pt x="497" y="335"/>
                    <a:pt x="497" y="335"/>
                  </a:cubicBezTo>
                  <a:cubicBezTo>
                    <a:pt x="497" y="335"/>
                    <a:pt x="497" y="335"/>
                    <a:pt x="497" y="335"/>
                  </a:cubicBezTo>
                  <a:close/>
                  <a:moveTo>
                    <a:pt x="460" y="301"/>
                  </a:moveTo>
                  <a:cubicBezTo>
                    <a:pt x="437" y="301"/>
                    <a:pt x="437" y="301"/>
                    <a:pt x="437" y="301"/>
                  </a:cubicBezTo>
                  <a:cubicBezTo>
                    <a:pt x="437" y="325"/>
                    <a:pt x="437" y="325"/>
                    <a:pt x="437" y="325"/>
                  </a:cubicBezTo>
                  <a:cubicBezTo>
                    <a:pt x="460" y="325"/>
                    <a:pt x="460" y="325"/>
                    <a:pt x="460" y="325"/>
                  </a:cubicBezTo>
                  <a:cubicBezTo>
                    <a:pt x="460" y="301"/>
                    <a:pt x="460" y="301"/>
                    <a:pt x="460" y="301"/>
                  </a:cubicBezTo>
                  <a:cubicBezTo>
                    <a:pt x="460" y="301"/>
                    <a:pt x="460" y="301"/>
                    <a:pt x="460" y="301"/>
                  </a:cubicBezTo>
                  <a:close/>
                  <a:moveTo>
                    <a:pt x="497" y="301"/>
                  </a:moveTo>
                  <a:cubicBezTo>
                    <a:pt x="473" y="301"/>
                    <a:pt x="473" y="301"/>
                    <a:pt x="473" y="301"/>
                  </a:cubicBezTo>
                  <a:cubicBezTo>
                    <a:pt x="473" y="325"/>
                    <a:pt x="473" y="325"/>
                    <a:pt x="473" y="325"/>
                  </a:cubicBezTo>
                  <a:cubicBezTo>
                    <a:pt x="497" y="325"/>
                    <a:pt x="497" y="325"/>
                    <a:pt x="497" y="325"/>
                  </a:cubicBezTo>
                  <a:cubicBezTo>
                    <a:pt x="497" y="301"/>
                    <a:pt x="497" y="301"/>
                    <a:pt x="497" y="301"/>
                  </a:cubicBezTo>
                  <a:cubicBezTo>
                    <a:pt x="497" y="301"/>
                    <a:pt x="497" y="301"/>
                    <a:pt x="497" y="301"/>
                  </a:cubicBezTo>
                  <a:close/>
                  <a:moveTo>
                    <a:pt x="460" y="268"/>
                  </a:moveTo>
                  <a:cubicBezTo>
                    <a:pt x="437" y="268"/>
                    <a:pt x="437" y="268"/>
                    <a:pt x="437" y="268"/>
                  </a:cubicBezTo>
                  <a:cubicBezTo>
                    <a:pt x="437" y="291"/>
                    <a:pt x="437" y="291"/>
                    <a:pt x="437" y="291"/>
                  </a:cubicBezTo>
                  <a:cubicBezTo>
                    <a:pt x="460" y="291"/>
                    <a:pt x="460" y="291"/>
                    <a:pt x="460" y="291"/>
                  </a:cubicBezTo>
                  <a:cubicBezTo>
                    <a:pt x="460" y="268"/>
                    <a:pt x="460" y="268"/>
                    <a:pt x="460" y="268"/>
                  </a:cubicBezTo>
                  <a:cubicBezTo>
                    <a:pt x="460" y="268"/>
                    <a:pt x="460" y="268"/>
                    <a:pt x="460" y="268"/>
                  </a:cubicBezTo>
                  <a:close/>
                  <a:moveTo>
                    <a:pt x="497" y="268"/>
                  </a:moveTo>
                  <a:cubicBezTo>
                    <a:pt x="473" y="268"/>
                    <a:pt x="473" y="268"/>
                    <a:pt x="473" y="268"/>
                  </a:cubicBezTo>
                  <a:cubicBezTo>
                    <a:pt x="473" y="291"/>
                    <a:pt x="473" y="291"/>
                    <a:pt x="473" y="291"/>
                  </a:cubicBezTo>
                  <a:cubicBezTo>
                    <a:pt x="497" y="291"/>
                    <a:pt x="497" y="291"/>
                    <a:pt x="497" y="291"/>
                  </a:cubicBezTo>
                  <a:cubicBezTo>
                    <a:pt x="497" y="268"/>
                    <a:pt x="497" y="268"/>
                    <a:pt x="497" y="268"/>
                  </a:cubicBezTo>
                  <a:cubicBezTo>
                    <a:pt x="497" y="268"/>
                    <a:pt x="497" y="268"/>
                    <a:pt x="497" y="268"/>
                  </a:cubicBezTo>
                  <a:close/>
                  <a:moveTo>
                    <a:pt x="460" y="234"/>
                  </a:moveTo>
                  <a:cubicBezTo>
                    <a:pt x="437" y="234"/>
                    <a:pt x="437" y="234"/>
                    <a:pt x="437" y="234"/>
                  </a:cubicBezTo>
                  <a:cubicBezTo>
                    <a:pt x="437" y="258"/>
                    <a:pt x="437" y="258"/>
                    <a:pt x="437" y="258"/>
                  </a:cubicBezTo>
                  <a:cubicBezTo>
                    <a:pt x="460" y="258"/>
                    <a:pt x="460" y="258"/>
                    <a:pt x="460" y="258"/>
                  </a:cubicBezTo>
                  <a:cubicBezTo>
                    <a:pt x="460" y="234"/>
                    <a:pt x="460" y="234"/>
                    <a:pt x="460" y="234"/>
                  </a:cubicBezTo>
                  <a:cubicBezTo>
                    <a:pt x="460" y="234"/>
                    <a:pt x="460" y="234"/>
                    <a:pt x="460" y="234"/>
                  </a:cubicBezTo>
                  <a:close/>
                  <a:moveTo>
                    <a:pt x="497" y="234"/>
                  </a:moveTo>
                  <a:cubicBezTo>
                    <a:pt x="473" y="234"/>
                    <a:pt x="473" y="234"/>
                    <a:pt x="473" y="234"/>
                  </a:cubicBezTo>
                  <a:cubicBezTo>
                    <a:pt x="473" y="258"/>
                    <a:pt x="473" y="258"/>
                    <a:pt x="473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7" y="234"/>
                    <a:pt x="497" y="234"/>
                    <a:pt x="497" y="234"/>
                  </a:cubicBezTo>
                  <a:cubicBezTo>
                    <a:pt x="497" y="234"/>
                    <a:pt x="497" y="234"/>
                    <a:pt x="497" y="234"/>
                  </a:cubicBezTo>
                  <a:close/>
                  <a:moveTo>
                    <a:pt x="460" y="201"/>
                  </a:moveTo>
                  <a:cubicBezTo>
                    <a:pt x="437" y="201"/>
                    <a:pt x="437" y="201"/>
                    <a:pt x="437" y="201"/>
                  </a:cubicBezTo>
                  <a:cubicBezTo>
                    <a:pt x="437" y="225"/>
                    <a:pt x="437" y="225"/>
                    <a:pt x="437" y="225"/>
                  </a:cubicBezTo>
                  <a:cubicBezTo>
                    <a:pt x="460" y="225"/>
                    <a:pt x="460" y="225"/>
                    <a:pt x="460" y="225"/>
                  </a:cubicBezTo>
                  <a:cubicBezTo>
                    <a:pt x="460" y="201"/>
                    <a:pt x="460" y="201"/>
                    <a:pt x="460" y="201"/>
                  </a:cubicBezTo>
                  <a:cubicBezTo>
                    <a:pt x="460" y="201"/>
                    <a:pt x="460" y="201"/>
                    <a:pt x="460" y="201"/>
                  </a:cubicBezTo>
                  <a:close/>
                  <a:moveTo>
                    <a:pt x="460" y="168"/>
                  </a:moveTo>
                  <a:cubicBezTo>
                    <a:pt x="437" y="168"/>
                    <a:pt x="437" y="168"/>
                    <a:pt x="437" y="168"/>
                  </a:cubicBezTo>
                  <a:cubicBezTo>
                    <a:pt x="437" y="191"/>
                    <a:pt x="437" y="191"/>
                    <a:pt x="437" y="191"/>
                  </a:cubicBezTo>
                  <a:cubicBezTo>
                    <a:pt x="460" y="191"/>
                    <a:pt x="460" y="191"/>
                    <a:pt x="460" y="191"/>
                  </a:cubicBezTo>
                  <a:cubicBezTo>
                    <a:pt x="460" y="168"/>
                    <a:pt x="460" y="168"/>
                    <a:pt x="460" y="168"/>
                  </a:cubicBezTo>
                  <a:cubicBezTo>
                    <a:pt x="460" y="168"/>
                    <a:pt x="460" y="168"/>
                    <a:pt x="460" y="168"/>
                  </a:cubicBezTo>
                  <a:close/>
                  <a:moveTo>
                    <a:pt x="460" y="134"/>
                  </a:moveTo>
                  <a:cubicBezTo>
                    <a:pt x="437" y="134"/>
                    <a:pt x="437" y="134"/>
                    <a:pt x="437" y="134"/>
                  </a:cubicBezTo>
                  <a:cubicBezTo>
                    <a:pt x="437" y="158"/>
                    <a:pt x="437" y="158"/>
                    <a:pt x="437" y="158"/>
                  </a:cubicBezTo>
                  <a:cubicBezTo>
                    <a:pt x="460" y="158"/>
                    <a:pt x="460" y="158"/>
                    <a:pt x="460" y="158"/>
                  </a:cubicBezTo>
                  <a:cubicBezTo>
                    <a:pt x="460" y="134"/>
                    <a:pt x="460" y="134"/>
                    <a:pt x="460" y="134"/>
                  </a:cubicBezTo>
                  <a:cubicBezTo>
                    <a:pt x="460" y="134"/>
                    <a:pt x="460" y="134"/>
                    <a:pt x="460" y="134"/>
                  </a:cubicBezTo>
                  <a:close/>
                  <a:moveTo>
                    <a:pt x="460" y="100"/>
                  </a:moveTo>
                  <a:cubicBezTo>
                    <a:pt x="437" y="100"/>
                    <a:pt x="437" y="100"/>
                    <a:pt x="437" y="100"/>
                  </a:cubicBezTo>
                  <a:cubicBezTo>
                    <a:pt x="437" y="124"/>
                    <a:pt x="437" y="124"/>
                    <a:pt x="437" y="124"/>
                  </a:cubicBezTo>
                  <a:cubicBezTo>
                    <a:pt x="460" y="124"/>
                    <a:pt x="460" y="124"/>
                    <a:pt x="460" y="124"/>
                  </a:cubicBezTo>
                  <a:cubicBezTo>
                    <a:pt x="460" y="100"/>
                    <a:pt x="460" y="100"/>
                    <a:pt x="460" y="100"/>
                  </a:cubicBezTo>
                  <a:cubicBezTo>
                    <a:pt x="460" y="100"/>
                    <a:pt x="460" y="100"/>
                    <a:pt x="460" y="100"/>
                  </a:cubicBezTo>
                  <a:close/>
                  <a:moveTo>
                    <a:pt x="460" y="67"/>
                  </a:moveTo>
                  <a:cubicBezTo>
                    <a:pt x="437" y="67"/>
                    <a:pt x="437" y="67"/>
                    <a:pt x="437" y="67"/>
                  </a:cubicBezTo>
                  <a:cubicBezTo>
                    <a:pt x="437" y="90"/>
                    <a:pt x="437" y="90"/>
                    <a:pt x="437" y="90"/>
                  </a:cubicBezTo>
                  <a:cubicBezTo>
                    <a:pt x="460" y="90"/>
                    <a:pt x="460" y="90"/>
                    <a:pt x="460" y="90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60" y="67"/>
                    <a:pt x="460" y="67"/>
                    <a:pt x="460" y="67"/>
                  </a:cubicBezTo>
                  <a:close/>
                  <a:moveTo>
                    <a:pt x="460" y="33"/>
                  </a:moveTo>
                  <a:cubicBezTo>
                    <a:pt x="437" y="33"/>
                    <a:pt x="437" y="33"/>
                    <a:pt x="437" y="33"/>
                  </a:cubicBezTo>
                  <a:cubicBezTo>
                    <a:pt x="437" y="57"/>
                    <a:pt x="437" y="57"/>
                    <a:pt x="437" y="57"/>
                  </a:cubicBezTo>
                  <a:cubicBezTo>
                    <a:pt x="460" y="57"/>
                    <a:pt x="460" y="57"/>
                    <a:pt x="460" y="57"/>
                  </a:cubicBezTo>
                  <a:cubicBezTo>
                    <a:pt x="460" y="33"/>
                    <a:pt x="460" y="33"/>
                    <a:pt x="460" y="33"/>
                  </a:cubicBezTo>
                  <a:cubicBezTo>
                    <a:pt x="460" y="33"/>
                    <a:pt x="460" y="33"/>
                    <a:pt x="460" y="33"/>
                  </a:cubicBezTo>
                  <a:close/>
                  <a:moveTo>
                    <a:pt x="532" y="368"/>
                  </a:moveTo>
                  <a:cubicBezTo>
                    <a:pt x="509" y="368"/>
                    <a:pt x="509" y="368"/>
                    <a:pt x="509" y="368"/>
                  </a:cubicBezTo>
                  <a:cubicBezTo>
                    <a:pt x="509" y="392"/>
                    <a:pt x="509" y="392"/>
                    <a:pt x="509" y="392"/>
                  </a:cubicBezTo>
                  <a:cubicBezTo>
                    <a:pt x="532" y="392"/>
                    <a:pt x="532" y="392"/>
                    <a:pt x="532" y="392"/>
                  </a:cubicBezTo>
                  <a:cubicBezTo>
                    <a:pt x="532" y="368"/>
                    <a:pt x="532" y="368"/>
                    <a:pt x="532" y="368"/>
                  </a:cubicBezTo>
                  <a:cubicBezTo>
                    <a:pt x="532" y="368"/>
                    <a:pt x="532" y="368"/>
                    <a:pt x="532" y="368"/>
                  </a:cubicBezTo>
                  <a:close/>
                  <a:moveTo>
                    <a:pt x="568" y="368"/>
                  </a:moveTo>
                  <a:cubicBezTo>
                    <a:pt x="545" y="368"/>
                    <a:pt x="545" y="368"/>
                    <a:pt x="545" y="368"/>
                  </a:cubicBezTo>
                  <a:cubicBezTo>
                    <a:pt x="545" y="392"/>
                    <a:pt x="545" y="392"/>
                    <a:pt x="545" y="392"/>
                  </a:cubicBezTo>
                  <a:cubicBezTo>
                    <a:pt x="568" y="392"/>
                    <a:pt x="568" y="392"/>
                    <a:pt x="568" y="392"/>
                  </a:cubicBezTo>
                  <a:cubicBezTo>
                    <a:pt x="568" y="368"/>
                    <a:pt x="568" y="368"/>
                    <a:pt x="568" y="368"/>
                  </a:cubicBezTo>
                  <a:cubicBezTo>
                    <a:pt x="568" y="368"/>
                    <a:pt x="568" y="368"/>
                    <a:pt x="568" y="368"/>
                  </a:cubicBezTo>
                  <a:close/>
                  <a:moveTo>
                    <a:pt x="532" y="335"/>
                  </a:moveTo>
                  <a:cubicBezTo>
                    <a:pt x="509" y="335"/>
                    <a:pt x="509" y="335"/>
                    <a:pt x="509" y="335"/>
                  </a:cubicBezTo>
                  <a:cubicBezTo>
                    <a:pt x="509" y="358"/>
                    <a:pt x="509" y="358"/>
                    <a:pt x="509" y="358"/>
                  </a:cubicBezTo>
                  <a:cubicBezTo>
                    <a:pt x="532" y="358"/>
                    <a:pt x="532" y="358"/>
                    <a:pt x="532" y="358"/>
                  </a:cubicBezTo>
                  <a:cubicBezTo>
                    <a:pt x="532" y="335"/>
                    <a:pt x="532" y="335"/>
                    <a:pt x="532" y="335"/>
                  </a:cubicBezTo>
                  <a:cubicBezTo>
                    <a:pt x="532" y="335"/>
                    <a:pt x="532" y="335"/>
                    <a:pt x="532" y="335"/>
                  </a:cubicBezTo>
                  <a:close/>
                  <a:moveTo>
                    <a:pt x="568" y="335"/>
                  </a:moveTo>
                  <a:cubicBezTo>
                    <a:pt x="545" y="335"/>
                    <a:pt x="545" y="335"/>
                    <a:pt x="545" y="335"/>
                  </a:cubicBezTo>
                  <a:cubicBezTo>
                    <a:pt x="545" y="358"/>
                    <a:pt x="545" y="358"/>
                    <a:pt x="545" y="358"/>
                  </a:cubicBezTo>
                  <a:cubicBezTo>
                    <a:pt x="568" y="358"/>
                    <a:pt x="568" y="358"/>
                    <a:pt x="568" y="358"/>
                  </a:cubicBezTo>
                  <a:cubicBezTo>
                    <a:pt x="568" y="335"/>
                    <a:pt x="568" y="335"/>
                    <a:pt x="568" y="335"/>
                  </a:cubicBezTo>
                  <a:cubicBezTo>
                    <a:pt x="568" y="335"/>
                    <a:pt x="568" y="335"/>
                    <a:pt x="568" y="335"/>
                  </a:cubicBezTo>
                  <a:close/>
                  <a:moveTo>
                    <a:pt x="532" y="301"/>
                  </a:moveTo>
                  <a:cubicBezTo>
                    <a:pt x="509" y="301"/>
                    <a:pt x="509" y="301"/>
                    <a:pt x="509" y="301"/>
                  </a:cubicBezTo>
                  <a:cubicBezTo>
                    <a:pt x="509" y="325"/>
                    <a:pt x="509" y="325"/>
                    <a:pt x="509" y="325"/>
                  </a:cubicBezTo>
                  <a:cubicBezTo>
                    <a:pt x="532" y="325"/>
                    <a:pt x="532" y="325"/>
                    <a:pt x="532" y="325"/>
                  </a:cubicBezTo>
                  <a:cubicBezTo>
                    <a:pt x="532" y="301"/>
                    <a:pt x="532" y="301"/>
                    <a:pt x="532" y="301"/>
                  </a:cubicBezTo>
                  <a:cubicBezTo>
                    <a:pt x="532" y="301"/>
                    <a:pt x="532" y="301"/>
                    <a:pt x="532" y="301"/>
                  </a:cubicBezTo>
                  <a:close/>
                  <a:moveTo>
                    <a:pt x="568" y="301"/>
                  </a:moveTo>
                  <a:cubicBezTo>
                    <a:pt x="545" y="301"/>
                    <a:pt x="545" y="301"/>
                    <a:pt x="545" y="301"/>
                  </a:cubicBezTo>
                  <a:cubicBezTo>
                    <a:pt x="545" y="325"/>
                    <a:pt x="545" y="325"/>
                    <a:pt x="545" y="325"/>
                  </a:cubicBezTo>
                  <a:cubicBezTo>
                    <a:pt x="568" y="325"/>
                    <a:pt x="568" y="325"/>
                    <a:pt x="568" y="325"/>
                  </a:cubicBezTo>
                  <a:cubicBezTo>
                    <a:pt x="568" y="301"/>
                    <a:pt x="568" y="301"/>
                    <a:pt x="568" y="301"/>
                  </a:cubicBezTo>
                  <a:cubicBezTo>
                    <a:pt x="568" y="301"/>
                    <a:pt x="568" y="301"/>
                    <a:pt x="568" y="301"/>
                  </a:cubicBezTo>
                  <a:close/>
                  <a:moveTo>
                    <a:pt x="532" y="268"/>
                  </a:moveTo>
                  <a:cubicBezTo>
                    <a:pt x="509" y="268"/>
                    <a:pt x="509" y="268"/>
                    <a:pt x="509" y="268"/>
                  </a:cubicBezTo>
                  <a:cubicBezTo>
                    <a:pt x="509" y="291"/>
                    <a:pt x="509" y="291"/>
                    <a:pt x="509" y="291"/>
                  </a:cubicBezTo>
                  <a:cubicBezTo>
                    <a:pt x="532" y="291"/>
                    <a:pt x="532" y="291"/>
                    <a:pt x="532" y="291"/>
                  </a:cubicBezTo>
                  <a:cubicBezTo>
                    <a:pt x="532" y="268"/>
                    <a:pt x="532" y="268"/>
                    <a:pt x="532" y="268"/>
                  </a:cubicBezTo>
                  <a:cubicBezTo>
                    <a:pt x="532" y="268"/>
                    <a:pt x="532" y="268"/>
                    <a:pt x="532" y="268"/>
                  </a:cubicBezTo>
                  <a:close/>
                  <a:moveTo>
                    <a:pt x="568" y="268"/>
                  </a:moveTo>
                  <a:cubicBezTo>
                    <a:pt x="545" y="268"/>
                    <a:pt x="545" y="268"/>
                    <a:pt x="545" y="268"/>
                  </a:cubicBezTo>
                  <a:cubicBezTo>
                    <a:pt x="545" y="291"/>
                    <a:pt x="545" y="291"/>
                    <a:pt x="545" y="291"/>
                  </a:cubicBezTo>
                  <a:cubicBezTo>
                    <a:pt x="568" y="291"/>
                    <a:pt x="568" y="291"/>
                    <a:pt x="568" y="291"/>
                  </a:cubicBezTo>
                  <a:cubicBezTo>
                    <a:pt x="568" y="268"/>
                    <a:pt x="568" y="268"/>
                    <a:pt x="568" y="268"/>
                  </a:cubicBezTo>
                  <a:cubicBezTo>
                    <a:pt x="568" y="268"/>
                    <a:pt x="568" y="268"/>
                    <a:pt x="568" y="268"/>
                  </a:cubicBezTo>
                  <a:close/>
                  <a:moveTo>
                    <a:pt x="532" y="234"/>
                  </a:moveTo>
                  <a:cubicBezTo>
                    <a:pt x="509" y="234"/>
                    <a:pt x="509" y="234"/>
                    <a:pt x="509" y="234"/>
                  </a:cubicBezTo>
                  <a:cubicBezTo>
                    <a:pt x="509" y="258"/>
                    <a:pt x="509" y="258"/>
                    <a:pt x="509" y="258"/>
                  </a:cubicBezTo>
                  <a:cubicBezTo>
                    <a:pt x="532" y="258"/>
                    <a:pt x="532" y="258"/>
                    <a:pt x="532" y="258"/>
                  </a:cubicBezTo>
                  <a:cubicBezTo>
                    <a:pt x="532" y="234"/>
                    <a:pt x="532" y="234"/>
                    <a:pt x="532" y="234"/>
                  </a:cubicBezTo>
                  <a:cubicBezTo>
                    <a:pt x="532" y="234"/>
                    <a:pt x="532" y="234"/>
                    <a:pt x="532" y="234"/>
                  </a:cubicBezTo>
                  <a:close/>
                  <a:moveTo>
                    <a:pt x="568" y="234"/>
                  </a:moveTo>
                  <a:cubicBezTo>
                    <a:pt x="545" y="234"/>
                    <a:pt x="545" y="234"/>
                    <a:pt x="545" y="234"/>
                  </a:cubicBezTo>
                  <a:cubicBezTo>
                    <a:pt x="545" y="258"/>
                    <a:pt x="545" y="258"/>
                    <a:pt x="545" y="258"/>
                  </a:cubicBezTo>
                  <a:cubicBezTo>
                    <a:pt x="568" y="258"/>
                    <a:pt x="568" y="258"/>
                    <a:pt x="568" y="258"/>
                  </a:cubicBezTo>
                  <a:cubicBezTo>
                    <a:pt x="568" y="234"/>
                    <a:pt x="568" y="234"/>
                    <a:pt x="568" y="234"/>
                  </a:cubicBezTo>
                  <a:cubicBezTo>
                    <a:pt x="568" y="234"/>
                    <a:pt x="568" y="234"/>
                    <a:pt x="568" y="234"/>
                  </a:cubicBezTo>
                  <a:close/>
                  <a:moveTo>
                    <a:pt x="532" y="201"/>
                  </a:moveTo>
                  <a:cubicBezTo>
                    <a:pt x="509" y="201"/>
                    <a:pt x="509" y="201"/>
                    <a:pt x="509" y="201"/>
                  </a:cubicBezTo>
                  <a:cubicBezTo>
                    <a:pt x="509" y="225"/>
                    <a:pt x="509" y="225"/>
                    <a:pt x="509" y="225"/>
                  </a:cubicBezTo>
                  <a:cubicBezTo>
                    <a:pt x="532" y="225"/>
                    <a:pt x="532" y="225"/>
                    <a:pt x="532" y="225"/>
                  </a:cubicBezTo>
                  <a:cubicBezTo>
                    <a:pt x="532" y="201"/>
                    <a:pt x="532" y="201"/>
                    <a:pt x="532" y="201"/>
                  </a:cubicBezTo>
                  <a:cubicBezTo>
                    <a:pt x="532" y="201"/>
                    <a:pt x="532" y="201"/>
                    <a:pt x="532" y="201"/>
                  </a:cubicBezTo>
                  <a:close/>
                  <a:moveTo>
                    <a:pt x="568" y="201"/>
                  </a:moveTo>
                  <a:cubicBezTo>
                    <a:pt x="545" y="201"/>
                    <a:pt x="545" y="201"/>
                    <a:pt x="545" y="201"/>
                  </a:cubicBezTo>
                  <a:cubicBezTo>
                    <a:pt x="545" y="225"/>
                    <a:pt x="545" y="225"/>
                    <a:pt x="545" y="225"/>
                  </a:cubicBezTo>
                  <a:cubicBezTo>
                    <a:pt x="568" y="225"/>
                    <a:pt x="568" y="225"/>
                    <a:pt x="568" y="225"/>
                  </a:cubicBezTo>
                  <a:cubicBezTo>
                    <a:pt x="568" y="201"/>
                    <a:pt x="568" y="201"/>
                    <a:pt x="568" y="201"/>
                  </a:cubicBezTo>
                  <a:cubicBezTo>
                    <a:pt x="568" y="201"/>
                    <a:pt x="568" y="201"/>
                    <a:pt x="568" y="201"/>
                  </a:cubicBezTo>
                  <a:close/>
                  <a:moveTo>
                    <a:pt x="532" y="168"/>
                  </a:moveTo>
                  <a:cubicBezTo>
                    <a:pt x="509" y="168"/>
                    <a:pt x="509" y="168"/>
                    <a:pt x="509" y="168"/>
                  </a:cubicBezTo>
                  <a:cubicBezTo>
                    <a:pt x="509" y="191"/>
                    <a:pt x="509" y="191"/>
                    <a:pt x="509" y="191"/>
                  </a:cubicBezTo>
                  <a:cubicBezTo>
                    <a:pt x="532" y="191"/>
                    <a:pt x="532" y="191"/>
                    <a:pt x="532" y="191"/>
                  </a:cubicBezTo>
                  <a:cubicBezTo>
                    <a:pt x="532" y="168"/>
                    <a:pt x="532" y="168"/>
                    <a:pt x="532" y="168"/>
                  </a:cubicBezTo>
                  <a:cubicBezTo>
                    <a:pt x="532" y="168"/>
                    <a:pt x="532" y="168"/>
                    <a:pt x="532" y="168"/>
                  </a:cubicBezTo>
                  <a:close/>
                  <a:moveTo>
                    <a:pt x="568" y="168"/>
                  </a:moveTo>
                  <a:cubicBezTo>
                    <a:pt x="545" y="168"/>
                    <a:pt x="545" y="168"/>
                    <a:pt x="545" y="168"/>
                  </a:cubicBezTo>
                  <a:cubicBezTo>
                    <a:pt x="545" y="191"/>
                    <a:pt x="545" y="191"/>
                    <a:pt x="545" y="191"/>
                  </a:cubicBezTo>
                  <a:cubicBezTo>
                    <a:pt x="568" y="191"/>
                    <a:pt x="568" y="191"/>
                    <a:pt x="568" y="191"/>
                  </a:cubicBezTo>
                  <a:cubicBezTo>
                    <a:pt x="568" y="168"/>
                    <a:pt x="568" y="168"/>
                    <a:pt x="568" y="168"/>
                  </a:cubicBezTo>
                  <a:cubicBezTo>
                    <a:pt x="568" y="168"/>
                    <a:pt x="568" y="168"/>
                    <a:pt x="568" y="168"/>
                  </a:cubicBezTo>
                  <a:close/>
                  <a:moveTo>
                    <a:pt x="568" y="134"/>
                  </a:moveTo>
                  <a:cubicBezTo>
                    <a:pt x="545" y="134"/>
                    <a:pt x="545" y="134"/>
                    <a:pt x="545" y="134"/>
                  </a:cubicBezTo>
                  <a:cubicBezTo>
                    <a:pt x="545" y="158"/>
                    <a:pt x="545" y="158"/>
                    <a:pt x="545" y="158"/>
                  </a:cubicBezTo>
                  <a:cubicBezTo>
                    <a:pt x="568" y="158"/>
                    <a:pt x="568" y="158"/>
                    <a:pt x="568" y="158"/>
                  </a:cubicBezTo>
                  <a:cubicBezTo>
                    <a:pt x="568" y="134"/>
                    <a:pt x="568" y="134"/>
                    <a:pt x="568" y="134"/>
                  </a:cubicBezTo>
                  <a:cubicBezTo>
                    <a:pt x="568" y="134"/>
                    <a:pt x="568" y="134"/>
                    <a:pt x="568" y="134"/>
                  </a:cubicBezTo>
                  <a:close/>
                  <a:moveTo>
                    <a:pt x="568" y="100"/>
                  </a:moveTo>
                  <a:cubicBezTo>
                    <a:pt x="545" y="100"/>
                    <a:pt x="545" y="100"/>
                    <a:pt x="545" y="100"/>
                  </a:cubicBezTo>
                  <a:cubicBezTo>
                    <a:pt x="545" y="124"/>
                    <a:pt x="545" y="124"/>
                    <a:pt x="545" y="124"/>
                  </a:cubicBezTo>
                  <a:cubicBezTo>
                    <a:pt x="568" y="124"/>
                    <a:pt x="568" y="124"/>
                    <a:pt x="568" y="124"/>
                  </a:cubicBezTo>
                  <a:cubicBezTo>
                    <a:pt x="568" y="100"/>
                    <a:pt x="568" y="100"/>
                    <a:pt x="568" y="100"/>
                  </a:cubicBezTo>
                  <a:cubicBezTo>
                    <a:pt x="568" y="100"/>
                    <a:pt x="568" y="100"/>
                    <a:pt x="568" y="100"/>
                  </a:cubicBezTo>
                  <a:close/>
                  <a:moveTo>
                    <a:pt x="568" y="67"/>
                  </a:moveTo>
                  <a:cubicBezTo>
                    <a:pt x="545" y="67"/>
                    <a:pt x="545" y="67"/>
                    <a:pt x="545" y="67"/>
                  </a:cubicBezTo>
                  <a:cubicBezTo>
                    <a:pt x="545" y="90"/>
                    <a:pt x="545" y="90"/>
                    <a:pt x="545" y="90"/>
                  </a:cubicBezTo>
                  <a:cubicBezTo>
                    <a:pt x="568" y="90"/>
                    <a:pt x="568" y="90"/>
                    <a:pt x="568" y="90"/>
                  </a:cubicBezTo>
                  <a:cubicBezTo>
                    <a:pt x="568" y="67"/>
                    <a:pt x="568" y="67"/>
                    <a:pt x="568" y="67"/>
                  </a:cubicBezTo>
                  <a:cubicBezTo>
                    <a:pt x="568" y="67"/>
                    <a:pt x="568" y="67"/>
                    <a:pt x="568" y="67"/>
                  </a:cubicBezTo>
                  <a:close/>
                  <a:moveTo>
                    <a:pt x="604" y="368"/>
                  </a:moveTo>
                  <a:cubicBezTo>
                    <a:pt x="580" y="368"/>
                    <a:pt x="580" y="368"/>
                    <a:pt x="580" y="368"/>
                  </a:cubicBezTo>
                  <a:cubicBezTo>
                    <a:pt x="580" y="392"/>
                    <a:pt x="580" y="392"/>
                    <a:pt x="580" y="392"/>
                  </a:cubicBezTo>
                  <a:cubicBezTo>
                    <a:pt x="604" y="392"/>
                    <a:pt x="604" y="392"/>
                    <a:pt x="604" y="392"/>
                  </a:cubicBezTo>
                  <a:cubicBezTo>
                    <a:pt x="604" y="368"/>
                    <a:pt x="604" y="368"/>
                    <a:pt x="604" y="368"/>
                  </a:cubicBezTo>
                  <a:cubicBezTo>
                    <a:pt x="604" y="368"/>
                    <a:pt x="604" y="368"/>
                    <a:pt x="604" y="368"/>
                  </a:cubicBezTo>
                  <a:close/>
                  <a:moveTo>
                    <a:pt x="641" y="368"/>
                  </a:moveTo>
                  <a:cubicBezTo>
                    <a:pt x="617" y="368"/>
                    <a:pt x="617" y="368"/>
                    <a:pt x="617" y="368"/>
                  </a:cubicBezTo>
                  <a:cubicBezTo>
                    <a:pt x="617" y="392"/>
                    <a:pt x="617" y="392"/>
                    <a:pt x="617" y="392"/>
                  </a:cubicBezTo>
                  <a:cubicBezTo>
                    <a:pt x="641" y="392"/>
                    <a:pt x="641" y="392"/>
                    <a:pt x="641" y="392"/>
                  </a:cubicBezTo>
                  <a:cubicBezTo>
                    <a:pt x="641" y="368"/>
                    <a:pt x="641" y="368"/>
                    <a:pt x="641" y="368"/>
                  </a:cubicBezTo>
                  <a:cubicBezTo>
                    <a:pt x="641" y="368"/>
                    <a:pt x="641" y="368"/>
                    <a:pt x="641" y="368"/>
                  </a:cubicBezTo>
                  <a:close/>
                  <a:moveTo>
                    <a:pt x="604" y="335"/>
                  </a:moveTo>
                  <a:cubicBezTo>
                    <a:pt x="580" y="335"/>
                    <a:pt x="580" y="335"/>
                    <a:pt x="580" y="335"/>
                  </a:cubicBezTo>
                  <a:cubicBezTo>
                    <a:pt x="580" y="358"/>
                    <a:pt x="580" y="358"/>
                    <a:pt x="580" y="358"/>
                  </a:cubicBezTo>
                  <a:cubicBezTo>
                    <a:pt x="604" y="358"/>
                    <a:pt x="604" y="358"/>
                    <a:pt x="604" y="358"/>
                  </a:cubicBezTo>
                  <a:cubicBezTo>
                    <a:pt x="604" y="335"/>
                    <a:pt x="604" y="335"/>
                    <a:pt x="604" y="335"/>
                  </a:cubicBezTo>
                  <a:cubicBezTo>
                    <a:pt x="604" y="335"/>
                    <a:pt x="604" y="335"/>
                    <a:pt x="604" y="335"/>
                  </a:cubicBezTo>
                  <a:close/>
                  <a:moveTo>
                    <a:pt x="641" y="335"/>
                  </a:moveTo>
                  <a:cubicBezTo>
                    <a:pt x="617" y="335"/>
                    <a:pt x="617" y="335"/>
                    <a:pt x="617" y="335"/>
                  </a:cubicBezTo>
                  <a:cubicBezTo>
                    <a:pt x="617" y="358"/>
                    <a:pt x="617" y="358"/>
                    <a:pt x="617" y="358"/>
                  </a:cubicBezTo>
                  <a:cubicBezTo>
                    <a:pt x="641" y="358"/>
                    <a:pt x="641" y="358"/>
                    <a:pt x="641" y="358"/>
                  </a:cubicBezTo>
                  <a:cubicBezTo>
                    <a:pt x="641" y="335"/>
                    <a:pt x="641" y="335"/>
                    <a:pt x="641" y="335"/>
                  </a:cubicBezTo>
                  <a:cubicBezTo>
                    <a:pt x="641" y="335"/>
                    <a:pt x="641" y="335"/>
                    <a:pt x="641" y="335"/>
                  </a:cubicBezTo>
                  <a:close/>
                  <a:moveTo>
                    <a:pt x="604" y="301"/>
                  </a:moveTo>
                  <a:cubicBezTo>
                    <a:pt x="580" y="301"/>
                    <a:pt x="580" y="301"/>
                    <a:pt x="580" y="301"/>
                  </a:cubicBezTo>
                  <a:cubicBezTo>
                    <a:pt x="580" y="325"/>
                    <a:pt x="580" y="325"/>
                    <a:pt x="580" y="325"/>
                  </a:cubicBezTo>
                  <a:cubicBezTo>
                    <a:pt x="604" y="325"/>
                    <a:pt x="604" y="325"/>
                    <a:pt x="604" y="325"/>
                  </a:cubicBezTo>
                  <a:cubicBezTo>
                    <a:pt x="604" y="301"/>
                    <a:pt x="604" y="301"/>
                    <a:pt x="604" y="301"/>
                  </a:cubicBezTo>
                  <a:cubicBezTo>
                    <a:pt x="604" y="301"/>
                    <a:pt x="604" y="301"/>
                    <a:pt x="604" y="301"/>
                  </a:cubicBezTo>
                  <a:close/>
                  <a:moveTo>
                    <a:pt x="641" y="301"/>
                  </a:moveTo>
                  <a:cubicBezTo>
                    <a:pt x="617" y="301"/>
                    <a:pt x="617" y="301"/>
                    <a:pt x="617" y="301"/>
                  </a:cubicBezTo>
                  <a:cubicBezTo>
                    <a:pt x="617" y="325"/>
                    <a:pt x="617" y="325"/>
                    <a:pt x="617" y="325"/>
                  </a:cubicBezTo>
                  <a:cubicBezTo>
                    <a:pt x="641" y="325"/>
                    <a:pt x="641" y="325"/>
                    <a:pt x="641" y="325"/>
                  </a:cubicBezTo>
                  <a:cubicBezTo>
                    <a:pt x="641" y="301"/>
                    <a:pt x="641" y="301"/>
                    <a:pt x="641" y="301"/>
                  </a:cubicBezTo>
                  <a:cubicBezTo>
                    <a:pt x="641" y="301"/>
                    <a:pt x="641" y="301"/>
                    <a:pt x="641" y="301"/>
                  </a:cubicBezTo>
                  <a:close/>
                  <a:moveTo>
                    <a:pt x="604" y="268"/>
                  </a:moveTo>
                  <a:cubicBezTo>
                    <a:pt x="580" y="268"/>
                    <a:pt x="580" y="268"/>
                    <a:pt x="580" y="268"/>
                  </a:cubicBezTo>
                  <a:cubicBezTo>
                    <a:pt x="580" y="291"/>
                    <a:pt x="580" y="291"/>
                    <a:pt x="580" y="291"/>
                  </a:cubicBezTo>
                  <a:cubicBezTo>
                    <a:pt x="604" y="291"/>
                    <a:pt x="604" y="291"/>
                    <a:pt x="604" y="291"/>
                  </a:cubicBezTo>
                  <a:cubicBezTo>
                    <a:pt x="604" y="268"/>
                    <a:pt x="604" y="268"/>
                    <a:pt x="604" y="268"/>
                  </a:cubicBezTo>
                  <a:cubicBezTo>
                    <a:pt x="604" y="268"/>
                    <a:pt x="604" y="268"/>
                    <a:pt x="604" y="268"/>
                  </a:cubicBezTo>
                  <a:close/>
                  <a:moveTo>
                    <a:pt x="641" y="268"/>
                  </a:moveTo>
                  <a:cubicBezTo>
                    <a:pt x="617" y="268"/>
                    <a:pt x="617" y="268"/>
                    <a:pt x="617" y="268"/>
                  </a:cubicBezTo>
                  <a:cubicBezTo>
                    <a:pt x="617" y="291"/>
                    <a:pt x="617" y="291"/>
                    <a:pt x="617" y="291"/>
                  </a:cubicBezTo>
                  <a:cubicBezTo>
                    <a:pt x="641" y="291"/>
                    <a:pt x="641" y="291"/>
                    <a:pt x="641" y="291"/>
                  </a:cubicBezTo>
                  <a:cubicBezTo>
                    <a:pt x="641" y="268"/>
                    <a:pt x="641" y="268"/>
                    <a:pt x="641" y="268"/>
                  </a:cubicBezTo>
                  <a:cubicBezTo>
                    <a:pt x="641" y="268"/>
                    <a:pt x="641" y="268"/>
                    <a:pt x="641" y="268"/>
                  </a:cubicBezTo>
                  <a:close/>
                  <a:moveTo>
                    <a:pt x="604" y="234"/>
                  </a:moveTo>
                  <a:cubicBezTo>
                    <a:pt x="580" y="234"/>
                    <a:pt x="580" y="234"/>
                    <a:pt x="580" y="234"/>
                  </a:cubicBezTo>
                  <a:cubicBezTo>
                    <a:pt x="580" y="258"/>
                    <a:pt x="580" y="258"/>
                    <a:pt x="580" y="258"/>
                  </a:cubicBezTo>
                  <a:cubicBezTo>
                    <a:pt x="604" y="258"/>
                    <a:pt x="604" y="258"/>
                    <a:pt x="604" y="258"/>
                  </a:cubicBezTo>
                  <a:cubicBezTo>
                    <a:pt x="604" y="234"/>
                    <a:pt x="604" y="234"/>
                    <a:pt x="604" y="234"/>
                  </a:cubicBezTo>
                  <a:cubicBezTo>
                    <a:pt x="604" y="234"/>
                    <a:pt x="604" y="234"/>
                    <a:pt x="604" y="234"/>
                  </a:cubicBezTo>
                  <a:close/>
                  <a:moveTo>
                    <a:pt x="641" y="234"/>
                  </a:moveTo>
                  <a:cubicBezTo>
                    <a:pt x="617" y="234"/>
                    <a:pt x="617" y="234"/>
                    <a:pt x="617" y="234"/>
                  </a:cubicBezTo>
                  <a:cubicBezTo>
                    <a:pt x="617" y="258"/>
                    <a:pt x="617" y="258"/>
                    <a:pt x="617" y="258"/>
                  </a:cubicBezTo>
                  <a:cubicBezTo>
                    <a:pt x="641" y="258"/>
                    <a:pt x="641" y="258"/>
                    <a:pt x="641" y="258"/>
                  </a:cubicBezTo>
                  <a:cubicBezTo>
                    <a:pt x="641" y="234"/>
                    <a:pt x="641" y="234"/>
                    <a:pt x="641" y="234"/>
                  </a:cubicBezTo>
                  <a:cubicBezTo>
                    <a:pt x="641" y="234"/>
                    <a:pt x="641" y="234"/>
                    <a:pt x="641" y="234"/>
                  </a:cubicBezTo>
                  <a:close/>
                  <a:moveTo>
                    <a:pt x="604" y="201"/>
                  </a:moveTo>
                  <a:cubicBezTo>
                    <a:pt x="580" y="201"/>
                    <a:pt x="580" y="201"/>
                    <a:pt x="580" y="201"/>
                  </a:cubicBezTo>
                  <a:cubicBezTo>
                    <a:pt x="580" y="225"/>
                    <a:pt x="580" y="225"/>
                    <a:pt x="580" y="225"/>
                  </a:cubicBezTo>
                  <a:cubicBezTo>
                    <a:pt x="604" y="225"/>
                    <a:pt x="604" y="225"/>
                    <a:pt x="604" y="225"/>
                  </a:cubicBezTo>
                  <a:cubicBezTo>
                    <a:pt x="604" y="201"/>
                    <a:pt x="604" y="201"/>
                    <a:pt x="604" y="201"/>
                  </a:cubicBezTo>
                  <a:cubicBezTo>
                    <a:pt x="604" y="201"/>
                    <a:pt x="604" y="201"/>
                    <a:pt x="604" y="201"/>
                  </a:cubicBezTo>
                  <a:close/>
                  <a:moveTo>
                    <a:pt x="604" y="168"/>
                  </a:moveTo>
                  <a:cubicBezTo>
                    <a:pt x="580" y="168"/>
                    <a:pt x="580" y="168"/>
                    <a:pt x="580" y="168"/>
                  </a:cubicBezTo>
                  <a:cubicBezTo>
                    <a:pt x="580" y="191"/>
                    <a:pt x="580" y="191"/>
                    <a:pt x="580" y="191"/>
                  </a:cubicBezTo>
                  <a:cubicBezTo>
                    <a:pt x="604" y="191"/>
                    <a:pt x="604" y="191"/>
                    <a:pt x="604" y="191"/>
                  </a:cubicBezTo>
                  <a:cubicBezTo>
                    <a:pt x="604" y="168"/>
                    <a:pt x="604" y="168"/>
                    <a:pt x="604" y="168"/>
                  </a:cubicBezTo>
                  <a:cubicBezTo>
                    <a:pt x="604" y="168"/>
                    <a:pt x="604" y="168"/>
                    <a:pt x="604" y="168"/>
                  </a:cubicBezTo>
                  <a:close/>
                  <a:moveTo>
                    <a:pt x="604" y="134"/>
                  </a:moveTo>
                  <a:cubicBezTo>
                    <a:pt x="580" y="134"/>
                    <a:pt x="580" y="134"/>
                    <a:pt x="580" y="134"/>
                  </a:cubicBezTo>
                  <a:cubicBezTo>
                    <a:pt x="580" y="158"/>
                    <a:pt x="580" y="158"/>
                    <a:pt x="580" y="158"/>
                  </a:cubicBezTo>
                  <a:cubicBezTo>
                    <a:pt x="604" y="158"/>
                    <a:pt x="604" y="158"/>
                    <a:pt x="604" y="158"/>
                  </a:cubicBezTo>
                  <a:cubicBezTo>
                    <a:pt x="604" y="134"/>
                    <a:pt x="604" y="134"/>
                    <a:pt x="604" y="134"/>
                  </a:cubicBezTo>
                  <a:cubicBezTo>
                    <a:pt x="604" y="134"/>
                    <a:pt x="604" y="134"/>
                    <a:pt x="604" y="134"/>
                  </a:cubicBezTo>
                  <a:close/>
                  <a:moveTo>
                    <a:pt x="604" y="100"/>
                  </a:moveTo>
                  <a:cubicBezTo>
                    <a:pt x="580" y="100"/>
                    <a:pt x="580" y="100"/>
                    <a:pt x="580" y="100"/>
                  </a:cubicBezTo>
                  <a:cubicBezTo>
                    <a:pt x="580" y="124"/>
                    <a:pt x="580" y="124"/>
                    <a:pt x="580" y="124"/>
                  </a:cubicBezTo>
                  <a:cubicBezTo>
                    <a:pt x="604" y="124"/>
                    <a:pt x="604" y="124"/>
                    <a:pt x="604" y="124"/>
                  </a:cubicBezTo>
                  <a:cubicBezTo>
                    <a:pt x="604" y="100"/>
                    <a:pt x="604" y="100"/>
                    <a:pt x="604" y="100"/>
                  </a:cubicBezTo>
                  <a:cubicBezTo>
                    <a:pt x="604" y="100"/>
                    <a:pt x="604" y="100"/>
                    <a:pt x="604" y="100"/>
                  </a:cubicBezTo>
                  <a:close/>
                  <a:moveTo>
                    <a:pt x="641" y="201"/>
                  </a:moveTo>
                  <a:cubicBezTo>
                    <a:pt x="617" y="201"/>
                    <a:pt x="617" y="201"/>
                    <a:pt x="617" y="201"/>
                  </a:cubicBezTo>
                  <a:cubicBezTo>
                    <a:pt x="617" y="225"/>
                    <a:pt x="617" y="225"/>
                    <a:pt x="617" y="225"/>
                  </a:cubicBezTo>
                  <a:cubicBezTo>
                    <a:pt x="641" y="225"/>
                    <a:pt x="641" y="225"/>
                    <a:pt x="641" y="225"/>
                  </a:cubicBezTo>
                  <a:cubicBezTo>
                    <a:pt x="641" y="201"/>
                    <a:pt x="641" y="201"/>
                    <a:pt x="641" y="201"/>
                  </a:cubicBezTo>
                  <a:cubicBezTo>
                    <a:pt x="641" y="201"/>
                    <a:pt x="641" y="201"/>
                    <a:pt x="641" y="201"/>
                  </a:cubicBezTo>
                  <a:close/>
                  <a:moveTo>
                    <a:pt x="641" y="168"/>
                  </a:moveTo>
                  <a:cubicBezTo>
                    <a:pt x="617" y="168"/>
                    <a:pt x="617" y="168"/>
                    <a:pt x="617" y="168"/>
                  </a:cubicBezTo>
                  <a:cubicBezTo>
                    <a:pt x="617" y="191"/>
                    <a:pt x="617" y="191"/>
                    <a:pt x="617" y="191"/>
                  </a:cubicBezTo>
                  <a:cubicBezTo>
                    <a:pt x="641" y="191"/>
                    <a:pt x="641" y="191"/>
                    <a:pt x="641" y="191"/>
                  </a:cubicBezTo>
                  <a:cubicBezTo>
                    <a:pt x="641" y="168"/>
                    <a:pt x="641" y="168"/>
                    <a:pt x="641" y="168"/>
                  </a:cubicBezTo>
                  <a:cubicBezTo>
                    <a:pt x="641" y="168"/>
                    <a:pt x="641" y="168"/>
                    <a:pt x="641" y="168"/>
                  </a:cubicBezTo>
                  <a:close/>
                  <a:moveTo>
                    <a:pt x="641" y="134"/>
                  </a:moveTo>
                  <a:cubicBezTo>
                    <a:pt x="617" y="134"/>
                    <a:pt x="617" y="134"/>
                    <a:pt x="617" y="134"/>
                  </a:cubicBezTo>
                  <a:cubicBezTo>
                    <a:pt x="617" y="158"/>
                    <a:pt x="617" y="158"/>
                    <a:pt x="617" y="158"/>
                  </a:cubicBezTo>
                  <a:cubicBezTo>
                    <a:pt x="641" y="158"/>
                    <a:pt x="641" y="158"/>
                    <a:pt x="641" y="158"/>
                  </a:cubicBezTo>
                  <a:cubicBezTo>
                    <a:pt x="641" y="134"/>
                    <a:pt x="641" y="134"/>
                    <a:pt x="641" y="134"/>
                  </a:cubicBezTo>
                  <a:cubicBezTo>
                    <a:pt x="641" y="134"/>
                    <a:pt x="641" y="134"/>
                    <a:pt x="641" y="134"/>
                  </a:cubicBezTo>
                  <a:close/>
                  <a:moveTo>
                    <a:pt x="641" y="100"/>
                  </a:moveTo>
                  <a:cubicBezTo>
                    <a:pt x="617" y="100"/>
                    <a:pt x="617" y="100"/>
                    <a:pt x="617" y="100"/>
                  </a:cubicBezTo>
                  <a:cubicBezTo>
                    <a:pt x="617" y="124"/>
                    <a:pt x="617" y="124"/>
                    <a:pt x="617" y="124"/>
                  </a:cubicBezTo>
                  <a:cubicBezTo>
                    <a:pt x="641" y="124"/>
                    <a:pt x="641" y="124"/>
                    <a:pt x="641" y="124"/>
                  </a:cubicBezTo>
                  <a:cubicBezTo>
                    <a:pt x="641" y="100"/>
                    <a:pt x="641" y="100"/>
                    <a:pt x="641" y="100"/>
                  </a:cubicBezTo>
                  <a:cubicBezTo>
                    <a:pt x="641" y="100"/>
                    <a:pt x="641" y="100"/>
                    <a:pt x="641" y="100"/>
                  </a:cubicBezTo>
                  <a:close/>
                  <a:moveTo>
                    <a:pt x="604" y="67"/>
                  </a:moveTo>
                  <a:cubicBezTo>
                    <a:pt x="580" y="67"/>
                    <a:pt x="580" y="67"/>
                    <a:pt x="580" y="67"/>
                  </a:cubicBezTo>
                  <a:cubicBezTo>
                    <a:pt x="580" y="90"/>
                    <a:pt x="580" y="90"/>
                    <a:pt x="580" y="90"/>
                  </a:cubicBezTo>
                  <a:cubicBezTo>
                    <a:pt x="604" y="90"/>
                    <a:pt x="604" y="90"/>
                    <a:pt x="604" y="90"/>
                  </a:cubicBezTo>
                  <a:cubicBezTo>
                    <a:pt x="604" y="67"/>
                    <a:pt x="604" y="67"/>
                    <a:pt x="604" y="67"/>
                  </a:cubicBezTo>
                  <a:cubicBezTo>
                    <a:pt x="604" y="67"/>
                    <a:pt x="604" y="67"/>
                    <a:pt x="604" y="67"/>
                  </a:cubicBezTo>
                  <a:close/>
                  <a:moveTo>
                    <a:pt x="604" y="33"/>
                  </a:moveTo>
                  <a:cubicBezTo>
                    <a:pt x="580" y="33"/>
                    <a:pt x="580" y="33"/>
                    <a:pt x="580" y="33"/>
                  </a:cubicBezTo>
                  <a:cubicBezTo>
                    <a:pt x="580" y="57"/>
                    <a:pt x="580" y="57"/>
                    <a:pt x="580" y="57"/>
                  </a:cubicBezTo>
                  <a:cubicBezTo>
                    <a:pt x="604" y="57"/>
                    <a:pt x="604" y="57"/>
                    <a:pt x="604" y="57"/>
                  </a:cubicBezTo>
                  <a:cubicBezTo>
                    <a:pt x="604" y="33"/>
                    <a:pt x="604" y="33"/>
                    <a:pt x="604" y="33"/>
                  </a:cubicBezTo>
                  <a:cubicBezTo>
                    <a:pt x="604" y="33"/>
                    <a:pt x="604" y="33"/>
                    <a:pt x="604" y="3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" name="Chevron 7"/>
          <p:cNvSpPr/>
          <p:nvPr/>
        </p:nvSpPr>
        <p:spPr bwMode="auto">
          <a:xfrm>
            <a:off x="6767796" y="3975753"/>
            <a:ext cx="1370336" cy="2892933"/>
          </a:xfrm>
          <a:prstGeom prst="chevron">
            <a:avLst>
              <a:gd name="adj" fmla="val 42593"/>
            </a:avLst>
          </a:prstGeom>
          <a:solidFill>
            <a:srgbClr val="D7D7D7"/>
          </a:solidFill>
          <a:ln w="9525" cap="flat" cmpd="sng" algn="ctr">
            <a:noFill/>
            <a:prstDash val="solid"/>
          </a:ln>
          <a:effectLst/>
        </p:spPr>
        <p:txBody>
          <a:bodyPr lIns="121613" tIns="60806" rIns="121613" bIns="60806" rtlCol="0" anchor="ctr"/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222078" y="472375"/>
            <a:ext cx="781750" cy="594960"/>
            <a:chOff x="4543910" y="2378075"/>
            <a:chExt cx="1076325" cy="819150"/>
          </a:xfrm>
        </p:grpSpPr>
        <p:sp>
          <p:nvSpPr>
            <p:cNvPr id="25" name="Freeform 5"/>
            <p:cNvSpPr>
              <a:spLocks/>
            </p:cNvSpPr>
            <p:nvPr/>
          </p:nvSpPr>
          <p:spPr bwMode="auto">
            <a:xfrm>
              <a:off x="4543910" y="2378075"/>
              <a:ext cx="1076325" cy="819150"/>
            </a:xfrm>
            <a:custGeom>
              <a:avLst/>
              <a:gdLst>
                <a:gd name="T0" fmla="*/ 538 w 702"/>
                <a:gd name="T1" fmla="*/ 12 h 534"/>
                <a:gd name="T2" fmla="*/ 184 w 702"/>
                <a:gd name="T3" fmla="*/ 13 h 534"/>
                <a:gd name="T4" fmla="*/ 0 w 702"/>
                <a:gd name="T5" fmla="*/ 180 h 534"/>
                <a:gd name="T6" fmla="*/ 0 w 702"/>
                <a:gd name="T7" fmla="*/ 267 h 534"/>
                <a:gd name="T8" fmla="*/ 156 w 702"/>
                <a:gd name="T9" fmla="*/ 439 h 534"/>
                <a:gd name="T10" fmla="*/ 209 w 702"/>
                <a:gd name="T11" fmla="*/ 443 h 534"/>
                <a:gd name="T12" fmla="*/ 209 w 702"/>
                <a:gd name="T13" fmla="*/ 443 h 534"/>
                <a:gd name="T14" fmla="*/ 151 w 702"/>
                <a:gd name="T15" fmla="*/ 531 h 534"/>
                <a:gd name="T16" fmla="*/ 262 w 702"/>
                <a:gd name="T17" fmla="*/ 510 h 534"/>
                <a:gd name="T18" fmla="*/ 335 w 702"/>
                <a:gd name="T19" fmla="*/ 473 h 534"/>
                <a:gd name="T20" fmla="*/ 394 w 702"/>
                <a:gd name="T21" fmla="*/ 448 h 534"/>
                <a:gd name="T22" fmla="*/ 394 w 702"/>
                <a:gd name="T23" fmla="*/ 448 h 534"/>
                <a:gd name="T24" fmla="*/ 408 w 702"/>
                <a:gd name="T25" fmla="*/ 448 h 534"/>
                <a:gd name="T26" fmla="*/ 542 w 702"/>
                <a:gd name="T27" fmla="*/ 439 h 534"/>
                <a:gd name="T28" fmla="*/ 702 w 702"/>
                <a:gd name="T29" fmla="*/ 267 h 534"/>
                <a:gd name="T30" fmla="*/ 702 w 702"/>
                <a:gd name="T31" fmla="*/ 180 h 534"/>
                <a:gd name="T32" fmla="*/ 538 w 702"/>
                <a:gd name="T33" fmla="*/ 1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2" h="534">
                  <a:moveTo>
                    <a:pt x="538" y="12"/>
                  </a:moveTo>
                  <a:cubicBezTo>
                    <a:pt x="449" y="0"/>
                    <a:pt x="272" y="2"/>
                    <a:pt x="184" y="13"/>
                  </a:cubicBezTo>
                  <a:cubicBezTo>
                    <a:pt x="96" y="23"/>
                    <a:pt x="0" y="72"/>
                    <a:pt x="0" y="18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372"/>
                    <a:pt x="88" y="430"/>
                    <a:pt x="156" y="439"/>
                  </a:cubicBezTo>
                  <a:cubicBezTo>
                    <a:pt x="169" y="440"/>
                    <a:pt x="187" y="442"/>
                    <a:pt x="209" y="443"/>
                  </a:cubicBezTo>
                  <a:cubicBezTo>
                    <a:pt x="209" y="443"/>
                    <a:pt x="209" y="443"/>
                    <a:pt x="209" y="443"/>
                  </a:cubicBezTo>
                  <a:cubicBezTo>
                    <a:pt x="209" y="443"/>
                    <a:pt x="220" y="459"/>
                    <a:pt x="151" y="531"/>
                  </a:cubicBezTo>
                  <a:cubicBezTo>
                    <a:pt x="148" y="534"/>
                    <a:pt x="215" y="526"/>
                    <a:pt x="262" y="510"/>
                  </a:cubicBezTo>
                  <a:cubicBezTo>
                    <a:pt x="309" y="494"/>
                    <a:pt x="307" y="490"/>
                    <a:pt x="335" y="473"/>
                  </a:cubicBezTo>
                  <a:cubicBezTo>
                    <a:pt x="363" y="456"/>
                    <a:pt x="356" y="456"/>
                    <a:pt x="394" y="448"/>
                  </a:cubicBezTo>
                  <a:cubicBezTo>
                    <a:pt x="394" y="448"/>
                    <a:pt x="394" y="448"/>
                    <a:pt x="394" y="448"/>
                  </a:cubicBezTo>
                  <a:cubicBezTo>
                    <a:pt x="399" y="448"/>
                    <a:pt x="403" y="448"/>
                    <a:pt x="408" y="448"/>
                  </a:cubicBezTo>
                  <a:cubicBezTo>
                    <a:pt x="458" y="447"/>
                    <a:pt x="506" y="444"/>
                    <a:pt x="542" y="439"/>
                  </a:cubicBezTo>
                  <a:cubicBezTo>
                    <a:pt x="645" y="423"/>
                    <a:pt x="702" y="361"/>
                    <a:pt x="702" y="267"/>
                  </a:cubicBezTo>
                  <a:cubicBezTo>
                    <a:pt x="702" y="180"/>
                    <a:pt x="702" y="180"/>
                    <a:pt x="702" y="180"/>
                  </a:cubicBezTo>
                  <a:cubicBezTo>
                    <a:pt x="702" y="85"/>
                    <a:pt x="628" y="24"/>
                    <a:pt x="538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4710706" y="2492027"/>
              <a:ext cx="747713" cy="449263"/>
            </a:xfrm>
            <a:custGeom>
              <a:avLst/>
              <a:gdLst>
                <a:gd name="T0" fmla="*/ 379 w 488"/>
                <a:gd name="T1" fmla="*/ 282 h 293"/>
                <a:gd name="T2" fmla="*/ 109 w 488"/>
                <a:gd name="T3" fmla="*/ 282 h 293"/>
                <a:gd name="T4" fmla="*/ 0 w 488"/>
                <a:gd name="T5" fmla="*/ 171 h 293"/>
                <a:gd name="T6" fmla="*/ 0 w 488"/>
                <a:gd name="T7" fmla="*/ 116 h 293"/>
                <a:gd name="T8" fmla="*/ 129 w 488"/>
                <a:gd name="T9" fmla="*/ 7 h 293"/>
                <a:gd name="T10" fmla="*/ 377 w 488"/>
                <a:gd name="T11" fmla="*/ 7 h 293"/>
                <a:gd name="T12" fmla="*/ 488 w 488"/>
                <a:gd name="T13" fmla="*/ 116 h 293"/>
                <a:gd name="T14" fmla="*/ 488 w 488"/>
                <a:gd name="T15" fmla="*/ 171 h 293"/>
                <a:gd name="T16" fmla="*/ 379 w 488"/>
                <a:gd name="T17" fmla="*/ 28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93">
                  <a:moveTo>
                    <a:pt x="379" y="282"/>
                  </a:moveTo>
                  <a:cubicBezTo>
                    <a:pt x="306" y="293"/>
                    <a:pt x="157" y="288"/>
                    <a:pt x="109" y="282"/>
                  </a:cubicBezTo>
                  <a:cubicBezTo>
                    <a:pt x="62" y="277"/>
                    <a:pt x="0" y="233"/>
                    <a:pt x="0" y="17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55"/>
                    <a:pt x="67" y="14"/>
                    <a:pt x="129" y="7"/>
                  </a:cubicBezTo>
                  <a:cubicBezTo>
                    <a:pt x="190" y="1"/>
                    <a:pt x="314" y="0"/>
                    <a:pt x="377" y="7"/>
                  </a:cubicBezTo>
                  <a:cubicBezTo>
                    <a:pt x="439" y="15"/>
                    <a:pt x="488" y="55"/>
                    <a:pt x="488" y="116"/>
                  </a:cubicBezTo>
                  <a:cubicBezTo>
                    <a:pt x="488" y="171"/>
                    <a:pt x="488" y="171"/>
                    <a:pt x="488" y="171"/>
                  </a:cubicBezTo>
                  <a:cubicBezTo>
                    <a:pt x="488" y="233"/>
                    <a:pt x="451" y="272"/>
                    <a:pt x="379" y="2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Oval 7"/>
            <p:cNvSpPr>
              <a:spLocks noChangeArrowheads="1"/>
            </p:cNvSpPr>
            <p:nvPr/>
          </p:nvSpPr>
          <p:spPr bwMode="auto">
            <a:xfrm>
              <a:off x="521553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val 8"/>
            <p:cNvSpPr>
              <a:spLocks noChangeArrowheads="1"/>
            </p:cNvSpPr>
            <p:nvPr/>
          </p:nvSpPr>
          <p:spPr bwMode="auto">
            <a:xfrm>
              <a:off x="5044081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9"/>
            <p:cNvSpPr>
              <a:spLocks noChangeArrowheads="1"/>
            </p:cNvSpPr>
            <p:nvPr/>
          </p:nvSpPr>
          <p:spPr bwMode="auto">
            <a:xfrm>
              <a:off x="4871043" y="2666652"/>
              <a:ext cx="93663" cy="920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oice output</a:t>
            </a:r>
          </a:p>
        </p:txBody>
      </p:sp>
    </p:spTree>
    <p:extLst>
      <p:ext uri="{BB962C8B-B14F-4D97-AF65-F5344CB8AC3E}">
        <p14:creationId xmlns:p14="http://schemas.microsoft.com/office/powerpoint/2010/main" val="42538218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564776" y="1692503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peech Dem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855310" y="3496004"/>
            <a:ext cx="6506404" cy="1166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Hear and speak to your users by filtering noise, identifying speakers, and understanding intent</a:t>
            </a:r>
          </a:p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497589" y="4662477"/>
            <a:ext cx="7221849" cy="8340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Custom Recognition | Speaker Recognition | Speech</a:t>
            </a:r>
          </a:p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6" name="Freeform 18"/>
          <p:cNvSpPr>
            <a:spLocks noChangeAspect="1"/>
          </p:cNvSpPr>
          <p:nvPr/>
        </p:nvSpPr>
        <p:spPr bwMode="auto">
          <a:xfrm>
            <a:off x="5852609" y="2765597"/>
            <a:ext cx="586529" cy="513795"/>
          </a:xfrm>
          <a:custGeom>
            <a:avLst/>
            <a:gdLst>
              <a:gd name="T0" fmla="*/ 115 w 6349"/>
              <a:gd name="T1" fmla="*/ 1548 h 5575"/>
              <a:gd name="T2" fmla="*/ 1324 w 6349"/>
              <a:gd name="T3" fmla="*/ 225 h 5575"/>
              <a:gd name="T4" fmla="*/ 5039 w 6349"/>
              <a:gd name="T5" fmla="*/ 228 h 5575"/>
              <a:gd name="T6" fmla="*/ 6221 w 6349"/>
              <a:gd name="T7" fmla="*/ 1445 h 5575"/>
              <a:gd name="T8" fmla="*/ 6235 w 6349"/>
              <a:gd name="T9" fmla="*/ 3263 h 5575"/>
              <a:gd name="T10" fmla="*/ 4974 w 6349"/>
              <a:gd name="T11" fmla="*/ 4531 h 5575"/>
              <a:gd name="T12" fmla="*/ 3498 w 6349"/>
              <a:gd name="T13" fmla="*/ 4683 h 5575"/>
              <a:gd name="T14" fmla="*/ 3298 w 6349"/>
              <a:gd name="T15" fmla="*/ 4745 h 5575"/>
              <a:gd name="T16" fmla="*/ 2475 w 6349"/>
              <a:gd name="T17" fmla="*/ 5284 h 5575"/>
              <a:gd name="T18" fmla="*/ 1414 w 6349"/>
              <a:gd name="T19" fmla="*/ 5561 h 5575"/>
              <a:gd name="T20" fmla="*/ 1936 w 6349"/>
              <a:gd name="T21" fmla="*/ 4628 h 5575"/>
              <a:gd name="T22" fmla="*/ 1490 w 6349"/>
              <a:gd name="T23" fmla="*/ 4559 h 5575"/>
              <a:gd name="T24" fmla="*/ 118 w 6349"/>
              <a:gd name="T25" fmla="*/ 3270 h 5575"/>
              <a:gd name="T26" fmla="*/ 115 w 6349"/>
              <a:gd name="T27" fmla="*/ 1548 h 5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9" h="5575">
                <a:moveTo>
                  <a:pt x="115" y="1548"/>
                </a:moveTo>
                <a:cubicBezTo>
                  <a:pt x="211" y="957"/>
                  <a:pt x="595" y="353"/>
                  <a:pt x="1324" y="225"/>
                </a:cubicBezTo>
                <a:cubicBezTo>
                  <a:pt x="2565" y="10"/>
                  <a:pt x="3802" y="0"/>
                  <a:pt x="5039" y="228"/>
                </a:cubicBezTo>
                <a:cubicBezTo>
                  <a:pt x="5713" y="353"/>
                  <a:pt x="6086" y="792"/>
                  <a:pt x="6221" y="1445"/>
                </a:cubicBezTo>
                <a:cubicBezTo>
                  <a:pt x="6349" y="2050"/>
                  <a:pt x="6339" y="2658"/>
                  <a:pt x="6235" y="3263"/>
                </a:cubicBezTo>
                <a:cubicBezTo>
                  <a:pt x="6135" y="3847"/>
                  <a:pt x="5724" y="4438"/>
                  <a:pt x="4974" y="4531"/>
                </a:cubicBezTo>
                <a:cubicBezTo>
                  <a:pt x="4483" y="4590"/>
                  <a:pt x="3989" y="4631"/>
                  <a:pt x="3498" y="4683"/>
                </a:cubicBezTo>
                <a:cubicBezTo>
                  <a:pt x="3429" y="4690"/>
                  <a:pt x="3356" y="4707"/>
                  <a:pt x="3298" y="4745"/>
                </a:cubicBezTo>
                <a:cubicBezTo>
                  <a:pt x="3021" y="4921"/>
                  <a:pt x="2869" y="5125"/>
                  <a:pt x="2475" y="5284"/>
                </a:cubicBezTo>
                <a:cubicBezTo>
                  <a:pt x="2154" y="5423"/>
                  <a:pt x="1466" y="5575"/>
                  <a:pt x="1414" y="5561"/>
                </a:cubicBezTo>
                <a:cubicBezTo>
                  <a:pt x="1390" y="5523"/>
                  <a:pt x="1894" y="4963"/>
                  <a:pt x="1936" y="4628"/>
                </a:cubicBezTo>
                <a:cubicBezTo>
                  <a:pt x="1760" y="4600"/>
                  <a:pt x="1625" y="4579"/>
                  <a:pt x="1490" y="4559"/>
                </a:cubicBezTo>
                <a:cubicBezTo>
                  <a:pt x="719" y="4441"/>
                  <a:pt x="277" y="4013"/>
                  <a:pt x="118" y="3270"/>
                </a:cubicBezTo>
                <a:cubicBezTo>
                  <a:pt x="0" y="2665"/>
                  <a:pt x="35" y="2056"/>
                  <a:pt x="115" y="15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423592" y="5805264"/>
            <a:ext cx="77810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dirty="0">
                <a:solidFill>
                  <a:schemeClr val="bg1"/>
                </a:solidFill>
                <a:hlinkClick r:id="rId3"/>
              </a:rPr>
              <a:t>https://www.microsoft.com/cognitive-services/en-us/speech-api</a:t>
            </a:r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81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auto">
          <a:xfrm>
            <a:off x="4184448" y="2218360"/>
            <a:ext cx="7720150" cy="3450274"/>
          </a:xfrm>
          <a:prstGeom prst="rect">
            <a:avLst/>
          </a:prstGeom>
          <a:solidFill>
            <a:srgbClr val="004BBB">
              <a:alpha val="92000"/>
            </a:srgb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00" rIns="0" bIns="466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172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5850409" y="2105612"/>
            <a:ext cx="6079725" cy="1102856"/>
          </a:xfrm>
          <a:prstGeom prst="rect">
            <a:avLst/>
          </a:prstGeom>
        </p:spPr>
        <p:txBody>
          <a:bodyPr vert="horz" lIns="91356" tIns="45677" rIns="91356" bIns="45677" rtlCol="0" anchor="b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8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j-ea"/>
                <a:cs typeface="+mj-cs"/>
              </a:rPr>
              <a:t>Speaker recognition API</a:t>
            </a:r>
          </a:p>
        </p:txBody>
      </p:sp>
      <p:sp>
        <p:nvSpPr>
          <p:cNvPr id="24" name="Freeform 5"/>
          <p:cNvSpPr>
            <a:spLocks/>
          </p:cNvSpPr>
          <p:nvPr/>
        </p:nvSpPr>
        <p:spPr bwMode="auto">
          <a:xfrm>
            <a:off x="4184683" y="2220177"/>
            <a:ext cx="1847734" cy="1021313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5" h="578">
                <a:moveTo>
                  <a:pt x="914" y="578"/>
                </a:moveTo>
                <a:lnTo>
                  <a:pt x="0" y="578"/>
                </a:lnTo>
                <a:lnTo>
                  <a:pt x="0" y="0"/>
                </a:lnTo>
                <a:lnTo>
                  <a:pt x="1165" y="0"/>
                </a:lnTo>
                <a:lnTo>
                  <a:pt x="914" y="578"/>
                </a:lnTo>
                <a:lnTo>
                  <a:pt x="914" y="578"/>
                </a:lnTo>
                <a:lnTo>
                  <a:pt x="914" y="57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748333" y="3346741"/>
            <a:ext cx="6957474" cy="1999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Speaker verification</a:t>
            </a:r>
            <a:b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Check if two voices are the same</a:t>
            </a:r>
          </a:p>
          <a:p>
            <a:pPr marL="0" marR="0" lvl="0" indent="0" defTabSz="89583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76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72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Speaker identification</a:t>
            </a:r>
            <a:br>
              <a:rPr kumimoji="0" lang="en-US" altLang="zh-CN" sz="352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altLang="zh-CN" sz="235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Identify who is speaking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118808" y="4093156"/>
            <a:ext cx="10349121" cy="2783495"/>
          </a:xfrm>
          <a:prstGeom prst="rect">
            <a:avLst/>
          </a:prstGeom>
        </p:spPr>
        <p:txBody>
          <a:bodyPr vert="horz" lIns="91356" tIns="45677" rIns="91356" bIns="45677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>
                <a:solidFill>
                  <a:srgbClr val="00A99D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798" b="0" i="0" u="none" strike="noStrike" kern="1200" cap="none" spc="0" normalizeH="0" baseline="0" noProof="0" dirty="0">
              <a:ln>
                <a:noFill/>
              </a:ln>
              <a:solidFill>
                <a:srgbClr val="00A99D"/>
              </a:solidFill>
              <a:effectLst/>
              <a:uLnTx/>
              <a:uFillTx/>
              <a:latin typeface="Segoe UI Light" panose="020B0502040204020203" pitchFamily="34" charset="0"/>
              <a:ea typeface="+mj-ea"/>
              <a:cs typeface="Segoe UI Light" panose="020B050204020402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31991" y="2471994"/>
            <a:ext cx="781750" cy="644400"/>
            <a:chOff x="4442750" y="2674884"/>
            <a:chExt cx="797935" cy="657741"/>
          </a:xfrm>
        </p:grpSpPr>
        <p:grpSp>
          <p:nvGrpSpPr>
            <p:cNvPr id="13" name="Group 12"/>
            <p:cNvGrpSpPr/>
            <p:nvPr/>
          </p:nvGrpSpPr>
          <p:grpSpPr>
            <a:xfrm>
              <a:off x="4442750" y="2674884"/>
              <a:ext cx="797935" cy="607278"/>
              <a:chOff x="4543910" y="2378075"/>
              <a:chExt cx="1076325" cy="819150"/>
            </a:xfrm>
          </p:grpSpPr>
          <p:sp>
            <p:nvSpPr>
              <p:cNvPr id="14" name="Freeform 5"/>
              <p:cNvSpPr>
                <a:spLocks/>
              </p:cNvSpPr>
              <p:nvPr/>
            </p:nvSpPr>
            <p:spPr bwMode="auto">
              <a:xfrm>
                <a:off x="4543910" y="2378075"/>
                <a:ext cx="1076325" cy="819150"/>
              </a:xfrm>
              <a:custGeom>
                <a:avLst/>
                <a:gdLst>
                  <a:gd name="T0" fmla="*/ 538 w 702"/>
                  <a:gd name="T1" fmla="*/ 12 h 534"/>
                  <a:gd name="T2" fmla="*/ 184 w 702"/>
                  <a:gd name="T3" fmla="*/ 13 h 534"/>
                  <a:gd name="T4" fmla="*/ 0 w 702"/>
                  <a:gd name="T5" fmla="*/ 180 h 534"/>
                  <a:gd name="T6" fmla="*/ 0 w 702"/>
                  <a:gd name="T7" fmla="*/ 267 h 534"/>
                  <a:gd name="T8" fmla="*/ 156 w 702"/>
                  <a:gd name="T9" fmla="*/ 439 h 534"/>
                  <a:gd name="T10" fmla="*/ 209 w 702"/>
                  <a:gd name="T11" fmla="*/ 443 h 534"/>
                  <a:gd name="T12" fmla="*/ 209 w 702"/>
                  <a:gd name="T13" fmla="*/ 443 h 534"/>
                  <a:gd name="T14" fmla="*/ 151 w 702"/>
                  <a:gd name="T15" fmla="*/ 531 h 534"/>
                  <a:gd name="T16" fmla="*/ 262 w 702"/>
                  <a:gd name="T17" fmla="*/ 510 h 534"/>
                  <a:gd name="T18" fmla="*/ 335 w 702"/>
                  <a:gd name="T19" fmla="*/ 473 h 534"/>
                  <a:gd name="T20" fmla="*/ 394 w 702"/>
                  <a:gd name="T21" fmla="*/ 448 h 534"/>
                  <a:gd name="T22" fmla="*/ 394 w 702"/>
                  <a:gd name="T23" fmla="*/ 448 h 534"/>
                  <a:gd name="T24" fmla="*/ 408 w 702"/>
                  <a:gd name="T25" fmla="*/ 448 h 534"/>
                  <a:gd name="T26" fmla="*/ 542 w 702"/>
                  <a:gd name="T27" fmla="*/ 439 h 534"/>
                  <a:gd name="T28" fmla="*/ 702 w 702"/>
                  <a:gd name="T29" fmla="*/ 267 h 534"/>
                  <a:gd name="T30" fmla="*/ 702 w 702"/>
                  <a:gd name="T31" fmla="*/ 180 h 534"/>
                  <a:gd name="T32" fmla="*/ 538 w 702"/>
                  <a:gd name="T33" fmla="*/ 12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2" h="534">
                    <a:moveTo>
                      <a:pt x="538" y="12"/>
                    </a:moveTo>
                    <a:cubicBezTo>
                      <a:pt x="449" y="0"/>
                      <a:pt x="272" y="2"/>
                      <a:pt x="184" y="13"/>
                    </a:cubicBezTo>
                    <a:cubicBezTo>
                      <a:pt x="96" y="23"/>
                      <a:pt x="0" y="72"/>
                      <a:pt x="0" y="180"/>
                    </a:cubicBezTo>
                    <a:cubicBezTo>
                      <a:pt x="0" y="267"/>
                      <a:pt x="0" y="267"/>
                      <a:pt x="0" y="267"/>
                    </a:cubicBezTo>
                    <a:cubicBezTo>
                      <a:pt x="0" y="372"/>
                      <a:pt x="88" y="430"/>
                      <a:pt x="156" y="439"/>
                    </a:cubicBezTo>
                    <a:cubicBezTo>
                      <a:pt x="169" y="440"/>
                      <a:pt x="187" y="442"/>
                      <a:pt x="209" y="443"/>
                    </a:cubicBezTo>
                    <a:cubicBezTo>
                      <a:pt x="209" y="443"/>
                      <a:pt x="209" y="443"/>
                      <a:pt x="209" y="443"/>
                    </a:cubicBezTo>
                    <a:cubicBezTo>
                      <a:pt x="209" y="443"/>
                      <a:pt x="220" y="459"/>
                      <a:pt x="151" y="531"/>
                    </a:cubicBezTo>
                    <a:cubicBezTo>
                      <a:pt x="148" y="534"/>
                      <a:pt x="215" y="526"/>
                      <a:pt x="262" y="510"/>
                    </a:cubicBezTo>
                    <a:cubicBezTo>
                      <a:pt x="309" y="494"/>
                      <a:pt x="307" y="490"/>
                      <a:pt x="335" y="473"/>
                    </a:cubicBezTo>
                    <a:cubicBezTo>
                      <a:pt x="363" y="456"/>
                      <a:pt x="356" y="456"/>
                      <a:pt x="394" y="448"/>
                    </a:cubicBezTo>
                    <a:cubicBezTo>
                      <a:pt x="394" y="448"/>
                      <a:pt x="394" y="448"/>
                      <a:pt x="394" y="448"/>
                    </a:cubicBezTo>
                    <a:cubicBezTo>
                      <a:pt x="399" y="448"/>
                      <a:pt x="403" y="448"/>
                      <a:pt x="408" y="448"/>
                    </a:cubicBezTo>
                    <a:cubicBezTo>
                      <a:pt x="458" y="447"/>
                      <a:pt x="506" y="444"/>
                      <a:pt x="542" y="439"/>
                    </a:cubicBezTo>
                    <a:cubicBezTo>
                      <a:pt x="645" y="423"/>
                      <a:pt x="702" y="361"/>
                      <a:pt x="702" y="267"/>
                    </a:cubicBezTo>
                    <a:cubicBezTo>
                      <a:pt x="702" y="180"/>
                      <a:pt x="702" y="180"/>
                      <a:pt x="702" y="180"/>
                    </a:cubicBezTo>
                    <a:cubicBezTo>
                      <a:pt x="702" y="85"/>
                      <a:pt x="628" y="24"/>
                      <a:pt x="538" y="1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85" tIns="44793" rIns="89585" bIns="447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58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3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6"/>
              <p:cNvSpPr>
                <a:spLocks/>
              </p:cNvSpPr>
              <p:nvPr/>
            </p:nvSpPr>
            <p:spPr bwMode="auto">
              <a:xfrm>
                <a:off x="4710706" y="2492027"/>
                <a:ext cx="747713" cy="449263"/>
              </a:xfrm>
              <a:custGeom>
                <a:avLst/>
                <a:gdLst>
                  <a:gd name="T0" fmla="*/ 379 w 488"/>
                  <a:gd name="T1" fmla="*/ 282 h 293"/>
                  <a:gd name="T2" fmla="*/ 109 w 488"/>
                  <a:gd name="T3" fmla="*/ 282 h 293"/>
                  <a:gd name="T4" fmla="*/ 0 w 488"/>
                  <a:gd name="T5" fmla="*/ 171 h 293"/>
                  <a:gd name="T6" fmla="*/ 0 w 488"/>
                  <a:gd name="T7" fmla="*/ 116 h 293"/>
                  <a:gd name="T8" fmla="*/ 129 w 488"/>
                  <a:gd name="T9" fmla="*/ 7 h 293"/>
                  <a:gd name="T10" fmla="*/ 377 w 488"/>
                  <a:gd name="T11" fmla="*/ 7 h 293"/>
                  <a:gd name="T12" fmla="*/ 488 w 488"/>
                  <a:gd name="T13" fmla="*/ 116 h 293"/>
                  <a:gd name="T14" fmla="*/ 488 w 488"/>
                  <a:gd name="T15" fmla="*/ 171 h 293"/>
                  <a:gd name="T16" fmla="*/ 379 w 488"/>
                  <a:gd name="T17" fmla="*/ 282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8" h="293">
                    <a:moveTo>
                      <a:pt x="379" y="282"/>
                    </a:moveTo>
                    <a:cubicBezTo>
                      <a:pt x="306" y="293"/>
                      <a:pt x="157" y="288"/>
                      <a:pt x="109" y="282"/>
                    </a:cubicBezTo>
                    <a:cubicBezTo>
                      <a:pt x="62" y="277"/>
                      <a:pt x="0" y="233"/>
                      <a:pt x="0" y="17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55"/>
                      <a:pt x="67" y="14"/>
                      <a:pt x="129" y="7"/>
                    </a:cubicBezTo>
                    <a:cubicBezTo>
                      <a:pt x="190" y="1"/>
                      <a:pt x="314" y="0"/>
                      <a:pt x="377" y="7"/>
                    </a:cubicBezTo>
                    <a:cubicBezTo>
                      <a:pt x="439" y="15"/>
                      <a:pt x="488" y="55"/>
                      <a:pt x="488" y="116"/>
                    </a:cubicBezTo>
                    <a:cubicBezTo>
                      <a:pt x="488" y="171"/>
                      <a:pt x="488" y="171"/>
                      <a:pt x="488" y="171"/>
                    </a:cubicBezTo>
                    <a:cubicBezTo>
                      <a:pt x="488" y="233"/>
                      <a:pt x="451" y="272"/>
                      <a:pt x="379" y="2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85" tIns="44793" rIns="89585" bIns="447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58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3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" name="TextBox 6"/>
            <p:cNvSpPr txBox="1"/>
            <p:nvPr/>
          </p:nvSpPr>
          <p:spPr>
            <a:xfrm>
              <a:off x="4481823" y="2704761"/>
              <a:ext cx="712375" cy="627864"/>
            </a:xfrm>
            <a:prstGeom prst="rect">
              <a:avLst/>
            </a:prstGeom>
            <a:noFill/>
          </p:spPr>
          <p:txBody>
            <a:bodyPr wrap="none" lIns="179171" tIns="143336" rIns="179171" bIns="143336" rtlCol="0">
              <a:spAutoFit/>
            </a:bodyPr>
            <a:lstStyle/>
            <a:p>
              <a:pPr marL="0" marR="0" lvl="0" indent="0" defTabSz="89583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1" b="1" i="0" u="none" strike="noStrike" kern="0" cap="none" spc="294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1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“</a:t>
              </a:r>
              <a:r>
                <a:rPr kumimoji="0" lang="en-US" sz="2351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1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34405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243793" y="1492803"/>
            <a:ext cx="5681683" cy="489282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4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1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auto">
          <a:xfrm>
            <a:off x="4753" y="-211533"/>
            <a:ext cx="65" cy="88525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6025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36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799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2" name="Rectangle 3"/>
          <p:cNvSpPr>
            <a:spLocks noChangeArrowheads="1"/>
          </p:cNvSpPr>
          <p:nvPr/>
        </p:nvSpPr>
        <p:spPr bwMode="auto">
          <a:xfrm>
            <a:off x="4753" y="-211533"/>
            <a:ext cx="65" cy="88525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6025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3665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799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704383" y="1732424"/>
            <a:ext cx="4650647" cy="2196138"/>
            <a:chOff x="700177" y="1731099"/>
            <a:chExt cx="3200000" cy="151111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177" y="1731099"/>
              <a:ext cx="3200000" cy="1511111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1873488" y="2125147"/>
              <a:ext cx="1358809" cy="3615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6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Is this Anna’s voice?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232297" y="2890614"/>
              <a:ext cx="545804" cy="2650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6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nna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54668" y="4034283"/>
            <a:ext cx="4650647" cy="2196138"/>
            <a:chOff x="700177" y="4275164"/>
            <a:chExt cx="3200000" cy="1511111"/>
          </a:xfrm>
          <a:solidFill>
            <a:schemeClr val="bg1"/>
          </a:solidFill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177" y="4275164"/>
              <a:ext cx="3200000" cy="1511111"/>
            </a:xfrm>
            <a:prstGeom prst="rect">
              <a:avLst/>
            </a:prstGeom>
            <a:grpFill/>
          </p:spPr>
        </p:pic>
        <p:sp>
          <p:nvSpPr>
            <p:cNvPr id="30" name="Rectangle 29"/>
            <p:cNvSpPr/>
            <p:nvPr/>
          </p:nvSpPr>
          <p:spPr>
            <a:xfrm>
              <a:off x="3289004" y="5414074"/>
              <a:ext cx="545804" cy="2650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6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nna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83264" y="5385720"/>
              <a:ext cx="545804" cy="2650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6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Mike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397000" y="4847225"/>
              <a:ext cx="565001" cy="132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6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Marry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060689" y="4531145"/>
              <a:ext cx="1358809" cy="36150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6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Who’s voice is this?</a:t>
              </a:r>
            </a:p>
          </p:txBody>
        </p:sp>
      </p:grpSp>
      <p:sp>
        <p:nvSpPr>
          <p:cNvPr id="21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205513" y="479361"/>
            <a:ext cx="781750" cy="644400"/>
            <a:chOff x="4442750" y="2674884"/>
            <a:chExt cx="797935" cy="657741"/>
          </a:xfrm>
        </p:grpSpPr>
        <p:grpSp>
          <p:nvGrpSpPr>
            <p:cNvPr id="47" name="Group 46"/>
            <p:cNvGrpSpPr/>
            <p:nvPr/>
          </p:nvGrpSpPr>
          <p:grpSpPr>
            <a:xfrm>
              <a:off x="4442750" y="2674884"/>
              <a:ext cx="797935" cy="607278"/>
              <a:chOff x="4543910" y="2378075"/>
              <a:chExt cx="1076325" cy="819150"/>
            </a:xfrm>
          </p:grpSpPr>
          <p:sp>
            <p:nvSpPr>
              <p:cNvPr id="49" name="Freeform 5"/>
              <p:cNvSpPr>
                <a:spLocks/>
              </p:cNvSpPr>
              <p:nvPr/>
            </p:nvSpPr>
            <p:spPr bwMode="auto">
              <a:xfrm>
                <a:off x="4543910" y="2378075"/>
                <a:ext cx="1076325" cy="819150"/>
              </a:xfrm>
              <a:custGeom>
                <a:avLst/>
                <a:gdLst>
                  <a:gd name="T0" fmla="*/ 538 w 702"/>
                  <a:gd name="T1" fmla="*/ 12 h 534"/>
                  <a:gd name="T2" fmla="*/ 184 w 702"/>
                  <a:gd name="T3" fmla="*/ 13 h 534"/>
                  <a:gd name="T4" fmla="*/ 0 w 702"/>
                  <a:gd name="T5" fmla="*/ 180 h 534"/>
                  <a:gd name="T6" fmla="*/ 0 w 702"/>
                  <a:gd name="T7" fmla="*/ 267 h 534"/>
                  <a:gd name="T8" fmla="*/ 156 w 702"/>
                  <a:gd name="T9" fmla="*/ 439 h 534"/>
                  <a:gd name="T10" fmla="*/ 209 w 702"/>
                  <a:gd name="T11" fmla="*/ 443 h 534"/>
                  <a:gd name="T12" fmla="*/ 209 w 702"/>
                  <a:gd name="T13" fmla="*/ 443 h 534"/>
                  <a:gd name="T14" fmla="*/ 151 w 702"/>
                  <a:gd name="T15" fmla="*/ 531 h 534"/>
                  <a:gd name="T16" fmla="*/ 262 w 702"/>
                  <a:gd name="T17" fmla="*/ 510 h 534"/>
                  <a:gd name="T18" fmla="*/ 335 w 702"/>
                  <a:gd name="T19" fmla="*/ 473 h 534"/>
                  <a:gd name="T20" fmla="*/ 394 w 702"/>
                  <a:gd name="T21" fmla="*/ 448 h 534"/>
                  <a:gd name="T22" fmla="*/ 394 w 702"/>
                  <a:gd name="T23" fmla="*/ 448 h 534"/>
                  <a:gd name="T24" fmla="*/ 408 w 702"/>
                  <a:gd name="T25" fmla="*/ 448 h 534"/>
                  <a:gd name="T26" fmla="*/ 542 w 702"/>
                  <a:gd name="T27" fmla="*/ 439 h 534"/>
                  <a:gd name="T28" fmla="*/ 702 w 702"/>
                  <a:gd name="T29" fmla="*/ 267 h 534"/>
                  <a:gd name="T30" fmla="*/ 702 w 702"/>
                  <a:gd name="T31" fmla="*/ 180 h 534"/>
                  <a:gd name="T32" fmla="*/ 538 w 702"/>
                  <a:gd name="T33" fmla="*/ 12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2" h="534">
                    <a:moveTo>
                      <a:pt x="538" y="12"/>
                    </a:moveTo>
                    <a:cubicBezTo>
                      <a:pt x="449" y="0"/>
                      <a:pt x="272" y="2"/>
                      <a:pt x="184" y="13"/>
                    </a:cubicBezTo>
                    <a:cubicBezTo>
                      <a:pt x="96" y="23"/>
                      <a:pt x="0" y="72"/>
                      <a:pt x="0" y="180"/>
                    </a:cubicBezTo>
                    <a:cubicBezTo>
                      <a:pt x="0" y="267"/>
                      <a:pt x="0" y="267"/>
                      <a:pt x="0" y="267"/>
                    </a:cubicBezTo>
                    <a:cubicBezTo>
                      <a:pt x="0" y="372"/>
                      <a:pt x="88" y="430"/>
                      <a:pt x="156" y="439"/>
                    </a:cubicBezTo>
                    <a:cubicBezTo>
                      <a:pt x="169" y="440"/>
                      <a:pt x="187" y="442"/>
                      <a:pt x="209" y="443"/>
                    </a:cubicBezTo>
                    <a:cubicBezTo>
                      <a:pt x="209" y="443"/>
                      <a:pt x="209" y="443"/>
                      <a:pt x="209" y="443"/>
                    </a:cubicBezTo>
                    <a:cubicBezTo>
                      <a:pt x="209" y="443"/>
                      <a:pt x="220" y="459"/>
                      <a:pt x="151" y="531"/>
                    </a:cubicBezTo>
                    <a:cubicBezTo>
                      <a:pt x="148" y="534"/>
                      <a:pt x="215" y="526"/>
                      <a:pt x="262" y="510"/>
                    </a:cubicBezTo>
                    <a:cubicBezTo>
                      <a:pt x="309" y="494"/>
                      <a:pt x="307" y="490"/>
                      <a:pt x="335" y="473"/>
                    </a:cubicBezTo>
                    <a:cubicBezTo>
                      <a:pt x="363" y="456"/>
                      <a:pt x="356" y="456"/>
                      <a:pt x="394" y="448"/>
                    </a:cubicBezTo>
                    <a:cubicBezTo>
                      <a:pt x="394" y="448"/>
                      <a:pt x="394" y="448"/>
                      <a:pt x="394" y="448"/>
                    </a:cubicBezTo>
                    <a:cubicBezTo>
                      <a:pt x="399" y="448"/>
                      <a:pt x="403" y="448"/>
                      <a:pt x="408" y="448"/>
                    </a:cubicBezTo>
                    <a:cubicBezTo>
                      <a:pt x="458" y="447"/>
                      <a:pt x="506" y="444"/>
                      <a:pt x="542" y="439"/>
                    </a:cubicBezTo>
                    <a:cubicBezTo>
                      <a:pt x="645" y="423"/>
                      <a:pt x="702" y="361"/>
                      <a:pt x="702" y="267"/>
                    </a:cubicBezTo>
                    <a:cubicBezTo>
                      <a:pt x="702" y="180"/>
                      <a:pt x="702" y="180"/>
                      <a:pt x="702" y="180"/>
                    </a:cubicBezTo>
                    <a:cubicBezTo>
                      <a:pt x="702" y="85"/>
                      <a:pt x="628" y="24"/>
                      <a:pt x="538" y="1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85" tIns="44793" rIns="89585" bIns="447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58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50" name="Freeform 6"/>
              <p:cNvSpPr>
                <a:spLocks/>
              </p:cNvSpPr>
              <p:nvPr/>
            </p:nvSpPr>
            <p:spPr bwMode="auto">
              <a:xfrm>
                <a:off x="4710706" y="2492027"/>
                <a:ext cx="747713" cy="449263"/>
              </a:xfrm>
              <a:custGeom>
                <a:avLst/>
                <a:gdLst>
                  <a:gd name="T0" fmla="*/ 379 w 488"/>
                  <a:gd name="T1" fmla="*/ 282 h 293"/>
                  <a:gd name="T2" fmla="*/ 109 w 488"/>
                  <a:gd name="T3" fmla="*/ 282 h 293"/>
                  <a:gd name="T4" fmla="*/ 0 w 488"/>
                  <a:gd name="T5" fmla="*/ 171 h 293"/>
                  <a:gd name="T6" fmla="*/ 0 w 488"/>
                  <a:gd name="T7" fmla="*/ 116 h 293"/>
                  <a:gd name="T8" fmla="*/ 129 w 488"/>
                  <a:gd name="T9" fmla="*/ 7 h 293"/>
                  <a:gd name="T10" fmla="*/ 377 w 488"/>
                  <a:gd name="T11" fmla="*/ 7 h 293"/>
                  <a:gd name="T12" fmla="*/ 488 w 488"/>
                  <a:gd name="T13" fmla="*/ 116 h 293"/>
                  <a:gd name="T14" fmla="*/ 488 w 488"/>
                  <a:gd name="T15" fmla="*/ 171 h 293"/>
                  <a:gd name="T16" fmla="*/ 379 w 488"/>
                  <a:gd name="T17" fmla="*/ 282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8" h="293">
                    <a:moveTo>
                      <a:pt x="379" y="282"/>
                    </a:moveTo>
                    <a:cubicBezTo>
                      <a:pt x="306" y="293"/>
                      <a:pt x="157" y="288"/>
                      <a:pt x="109" y="282"/>
                    </a:cubicBezTo>
                    <a:cubicBezTo>
                      <a:pt x="62" y="277"/>
                      <a:pt x="0" y="233"/>
                      <a:pt x="0" y="171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55"/>
                      <a:pt x="67" y="14"/>
                      <a:pt x="129" y="7"/>
                    </a:cubicBezTo>
                    <a:cubicBezTo>
                      <a:pt x="190" y="1"/>
                      <a:pt x="314" y="0"/>
                      <a:pt x="377" y="7"/>
                    </a:cubicBezTo>
                    <a:cubicBezTo>
                      <a:pt x="439" y="15"/>
                      <a:pt x="488" y="55"/>
                      <a:pt x="488" y="116"/>
                    </a:cubicBezTo>
                    <a:cubicBezTo>
                      <a:pt x="488" y="171"/>
                      <a:pt x="488" y="171"/>
                      <a:pt x="488" y="171"/>
                    </a:cubicBezTo>
                    <a:cubicBezTo>
                      <a:pt x="488" y="233"/>
                      <a:pt x="451" y="272"/>
                      <a:pt x="379" y="2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85" tIns="44793" rIns="89585" bIns="447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58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sp>
          <p:nvSpPr>
            <p:cNvPr id="48" name="TextBox 47"/>
            <p:cNvSpPr txBox="1"/>
            <p:nvPr/>
          </p:nvSpPr>
          <p:spPr>
            <a:xfrm>
              <a:off x="4481823" y="2704761"/>
              <a:ext cx="712375" cy="627864"/>
            </a:xfrm>
            <a:prstGeom prst="rect">
              <a:avLst/>
            </a:prstGeom>
            <a:noFill/>
          </p:spPr>
          <p:txBody>
            <a:bodyPr wrap="none" lIns="179171" tIns="143336" rIns="179171" bIns="143336" rtlCol="0">
              <a:spAutoFit/>
            </a:bodyPr>
            <a:lstStyle/>
            <a:p>
              <a:pPr marL="0" marR="0" lvl="0" indent="0" defTabSz="89583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1" b="1" i="0" u="none" strike="noStrike" kern="0" cap="none" spc="294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1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“</a:t>
              </a:r>
              <a:r>
                <a:rPr kumimoji="0" lang="en-US" sz="2351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1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”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1655841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Speaker recognition APIs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6030871" y="1336638"/>
            <a:ext cx="4659566" cy="1084269"/>
            <a:chOff x="6048152" y="1361581"/>
            <a:chExt cx="4756034" cy="1106717"/>
          </a:xfrm>
        </p:grpSpPr>
        <p:sp>
          <p:nvSpPr>
            <p:cNvPr id="53" name="TextBox 52"/>
            <p:cNvSpPr txBox="1"/>
            <p:nvPr/>
          </p:nvSpPr>
          <p:spPr>
            <a:xfrm>
              <a:off x="6048152" y="1889993"/>
              <a:ext cx="4756034" cy="578305"/>
            </a:xfrm>
            <a:prstGeom prst="rect">
              <a:avLst/>
            </a:prstGeom>
            <a:noFill/>
          </p:spPr>
          <p:txBody>
            <a:bodyPr wrap="non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Create a unique voiceprint for a profile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6048153" y="1361581"/>
              <a:ext cx="2867244" cy="600164"/>
            </a:xfrm>
            <a:prstGeom prst="rect">
              <a:avLst/>
            </a:prstGeom>
          </p:spPr>
          <p:txBody>
            <a:bodyPr wrap="square" lIns="143336" rIns="0">
              <a:no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Enrollment</a:t>
              </a:r>
            </a:p>
          </p:txBody>
        </p:sp>
      </p:grpSp>
      <p:cxnSp>
        <p:nvCxnSpPr>
          <p:cNvPr id="55" name="Straight Connector 54"/>
          <p:cNvCxnSpPr/>
          <p:nvPr/>
        </p:nvCxnSpPr>
        <p:spPr>
          <a:xfrm>
            <a:off x="6219686" y="1915296"/>
            <a:ext cx="6119397" cy="0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6030871" y="2577263"/>
            <a:ext cx="5822815" cy="1355650"/>
            <a:chOff x="6048152" y="1361581"/>
            <a:chExt cx="5943365" cy="1383716"/>
          </a:xfrm>
        </p:grpSpPr>
        <p:sp>
          <p:nvSpPr>
            <p:cNvPr id="57" name="TextBox 56"/>
            <p:cNvSpPr txBox="1"/>
            <p:nvPr/>
          </p:nvSpPr>
          <p:spPr>
            <a:xfrm>
              <a:off x="6048152" y="1889993"/>
              <a:ext cx="5943365" cy="855304"/>
            </a:xfrm>
            <a:prstGeom prst="rect">
              <a:avLst/>
            </a:prstGeom>
            <a:noFill/>
          </p:spPr>
          <p:txBody>
            <a:bodyPr wrap="squar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fter enrolling one or more voices, identify who is speaking from an audio clip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048153" y="1361581"/>
              <a:ext cx="2867244" cy="600164"/>
            </a:xfrm>
            <a:prstGeom prst="rect">
              <a:avLst/>
            </a:prstGeom>
          </p:spPr>
          <p:txBody>
            <a:bodyPr wrap="square" lIns="143336" rIns="0">
              <a:no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Recognition</a:t>
              </a:r>
            </a:p>
          </p:txBody>
        </p:sp>
      </p:grpSp>
      <p:cxnSp>
        <p:nvCxnSpPr>
          <p:cNvPr id="59" name="Straight Connector 58"/>
          <p:cNvCxnSpPr/>
          <p:nvPr/>
        </p:nvCxnSpPr>
        <p:spPr>
          <a:xfrm>
            <a:off x="6219686" y="3155922"/>
            <a:ext cx="6119397" cy="0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6030871" y="4188566"/>
            <a:ext cx="5822815" cy="1355650"/>
            <a:chOff x="6048152" y="1361581"/>
            <a:chExt cx="5943365" cy="1383716"/>
          </a:xfrm>
        </p:grpSpPr>
        <p:sp>
          <p:nvSpPr>
            <p:cNvPr id="61" name="TextBox 60"/>
            <p:cNvSpPr txBox="1"/>
            <p:nvPr/>
          </p:nvSpPr>
          <p:spPr>
            <a:xfrm>
              <a:off x="6048152" y="1889993"/>
              <a:ext cx="5943365" cy="855304"/>
            </a:xfrm>
            <a:prstGeom prst="rect">
              <a:avLst/>
            </a:prstGeom>
            <a:noFill/>
          </p:spPr>
          <p:txBody>
            <a:bodyPr wrap="squar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5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Confirm if a voice belongs to a previously enrolled profile 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048153" y="1361581"/>
              <a:ext cx="2867244" cy="600164"/>
            </a:xfrm>
            <a:prstGeom prst="rect">
              <a:avLst/>
            </a:prstGeom>
          </p:spPr>
          <p:txBody>
            <a:bodyPr wrap="square" lIns="143336" rIns="0">
              <a:no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Verification</a:t>
              </a:r>
            </a:p>
          </p:txBody>
        </p:sp>
      </p:grpSp>
      <p:cxnSp>
        <p:nvCxnSpPr>
          <p:cNvPr id="63" name="Straight Connector 62"/>
          <p:cNvCxnSpPr/>
          <p:nvPr/>
        </p:nvCxnSpPr>
        <p:spPr>
          <a:xfrm>
            <a:off x="6219686" y="4767225"/>
            <a:ext cx="6119397" cy="0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2904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76043E-6 2.34226E-6 L -0.03674 2.34226E-6 " pathEditMode="relative" rAng="0" ptsTypes="AA">
                                      <p:cBhvr>
                                        <p:cTn id="12" dur="500" spd="-100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6025E-6 -1.18021E-7 L -0.03674 -1.18021E-7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6025E-6 -4.02633E-6 L -0.03674 -4.02633E-6 " pathEditMode="relative" rAng="0" ptsTypes="AA">
                                      <p:cBhvr>
                                        <p:cTn id="30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564776" y="1692503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peech Dem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855310" y="3496004"/>
            <a:ext cx="6506404" cy="1166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Hear and speak to your users by filtering noise, identifying speakers, and understanding intent</a:t>
            </a:r>
          </a:p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497589" y="4662477"/>
            <a:ext cx="7221849" cy="8340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Custom Recognition | Speaker Recognition | Speech</a:t>
            </a:r>
          </a:p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6" name="Freeform 18"/>
          <p:cNvSpPr>
            <a:spLocks noChangeAspect="1"/>
          </p:cNvSpPr>
          <p:nvPr/>
        </p:nvSpPr>
        <p:spPr bwMode="auto">
          <a:xfrm>
            <a:off x="5852609" y="2765597"/>
            <a:ext cx="586529" cy="513795"/>
          </a:xfrm>
          <a:custGeom>
            <a:avLst/>
            <a:gdLst>
              <a:gd name="T0" fmla="*/ 115 w 6349"/>
              <a:gd name="T1" fmla="*/ 1548 h 5575"/>
              <a:gd name="T2" fmla="*/ 1324 w 6349"/>
              <a:gd name="T3" fmla="*/ 225 h 5575"/>
              <a:gd name="T4" fmla="*/ 5039 w 6349"/>
              <a:gd name="T5" fmla="*/ 228 h 5575"/>
              <a:gd name="T6" fmla="*/ 6221 w 6349"/>
              <a:gd name="T7" fmla="*/ 1445 h 5575"/>
              <a:gd name="T8" fmla="*/ 6235 w 6349"/>
              <a:gd name="T9" fmla="*/ 3263 h 5575"/>
              <a:gd name="T10" fmla="*/ 4974 w 6349"/>
              <a:gd name="T11" fmla="*/ 4531 h 5575"/>
              <a:gd name="T12" fmla="*/ 3498 w 6349"/>
              <a:gd name="T13" fmla="*/ 4683 h 5575"/>
              <a:gd name="T14" fmla="*/ 3298 w 6349"/>
              <a:gd name="T15" fmla="*/ 4745 h 5575"/>
              <a:gd name="T16" fmla="*/ 2475 w 6349"/>
              <a:gd name="T17" fmla="*/ 5284 h 5575"/>
              <a:gd name="T18" fmla="*/ 1414 w 6349"/>
              <a:gd name="T19" fmla="*/ 5561 h 5575"/>
              <a:gd name="T20" fmla="*/ 1936 w 6349"/>
              <a:gd name="T21" fmla="*/ 4628 h 5575"/>
              <a:gd name="T22" fmla="*/ 1490 w 6349"/>
              <a:gd name="T23" fmla="*/ 4559 h 5575"/>
              <a:gd name="T24" fmla="*/ 118 w 6349"/>
              <a:gd name="T25" fmla="*/ 3270 h 5575"/>
              <a:gd name="T26" fmla="*/ 115 w 6349"/>
              <a:gd name="T27" fmla="*/ 1548 h 5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49" h="5575">
                <a:moveTo>
                  <a:pt x="115" y="1548"/>
                </a:moveTo>
                <a:cubicBezTo>
                  <a:pt x="211" y="957"/>
                  <a:pt x="595" y="353"/>
                  <a:pt x="1324" y="225"/>
                </a:cubicBezTo>
                <a:cubicBezTo>
                  <a:pt x="2565" y="10"/>
                  <a:pt x="3802" y="0"/>
                  <a:pt x="5039" y="228"/>
                </a:cubicBezTo>
                <a:cubicBezTo>
                  <a:pt x="5713" y="353"/>
                  <a:pt x="6086" y="792"/>
                  <a:pt x="6221" y="1445"/>
                </a:cubicBezTo>
                <a:cubicBezTo>
                  <a:pt x="6349" y="2050"/>
                  <a:pt x="6339" y="2658"/>
                  <a:pt x="6235" y="3263"/>
                </a:cubicBezTo>
                <a:cubicBezTo>
                  <a:pt x="6135" y="3847"/>
                  <a:pt x="5724" y="4438"/>
                  <a:pt x="4974" y="4531"/>
                </a:cubicBezTo>
                <a:cubicBezTo>
                  <a:pt x="4483" y="4590"/>
                  <a:pt x="3989" y="4631"/>
                  <a:pt x="3498" y="4683"/>
                </a:cubicBezTo>
                <a:cubicBezTo>
                  <a:pt x="3429" y="4690"/>
                  <a:pt x="3356" y="4707"/>
                  <a:pt x="3298" y="4745"/>
                </a:cubicBezTo>
                <a:cubicBezTo>
                  <a:pt x="3021" y="4921"/>
                  <a:pt x="2869" y="5125"/>
                  <a:pt x="2475" y="5284"/>
                </a:cubicBezTo>
                <a:cubicBezTo>
                  <a:pt x="2154" y="5423"/>
                  <a:pt x="1466" y="5575"/>
                  <a:pt x="1414" y="5561"/>
                </a:cubicBezTo>
                <a:cubicBezTo>
                  <a:pt x="1390" y="5523"/>
                  <a:pt x="1894" y="4963"/>
                  <a:pt x="1936" y="4628"/>
                </a:cubicBezTo>
                <a:cubicBezTo>
                  <a:pt x="1760" y="4600"/>
                  <a:pt x="1625" y="4579"/>
                  <a:pt x="1490" y="4559"/>
                </a:cubicBezTo>
                <a:cubicBezTo>
                  <a:pt x="719" y="4441"/>
                  <a:pt x="277" y="4013"/>
                  <a:pt x="118" y="3270"/>
                </a:cubicBezTo>
                <a:cubicBezTo>
                  <a:pt x="0" y="2665"/>
                  <a:pt x="35" y="2056"/>
                  <a:pt x="115" y="15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423592" y="5805264"/>
            <a:ext cx="81369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dirty="0">
                <a:solidFill>
                  <a:schemeClr val="bg1"/>
                </a:solidFill>
                <a:hlinkClick r:id="rId3"/>
              </a:rPr>
              <a:t>https://www.microsoft.com/cognitive-services/en-us/speaker-recognition-api</a:t>
            </a:r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70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623392" y="2924944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Build Your Application</a:t>
            </a:r>
          </a:p>
        </p:txBody>
      </p:sp>
    </p:spTree>
    <p:extLst>
      <p:ext uri="{BB962C8B-B14F-4D97-AF65-F5344CB8AC3E}">
        <p14:creationId xmlns:p14="http://schemas.microsoft.com/office/powerpoint/2010/main" val="414040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753" y="286382"/>
            <a:ext cx="2403388" cy="2791533"/>
          </a:xfrm>
        </p:spPr>
        <p:txBody>
          <a:bodyPr/>
          <a:lstStyle/>
          <a:p>
            <a:r>
              <a:rPr lang="en-US" dirty="0"/>
              <a:t>Azure Commerce Channels Summary for India DC deployment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6"/>
            <p:extLst/>
          </p:nvPr>
        </p:nvGraphicFramePr>
        <p:xfrm>
          <a:off x="3048001" y="742949"/>
          <a:ext cx="8869478" cy="56154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5407679" y="2289028"/>
            <a:ext cx="6431078" cy="999180"/>
          </a:xfrm>
          <a:prstGeom prst="rect">
            <a:avLst/>
          </a:prstGeom>
          <a:noFill/>
          <a:ln w="1905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35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t="32394" b="25873"/>
          <a:stretch/>
        </p:blipFill>
        <p:spPr>
          <a:xfrm>
            <a:off x="-12924" y="487"/>
            <a:ext cx="12204175" cy="3420936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 bwMode="auto">
          <a:xfrm>
            <a:off x="-18975" y="-56369"/>
            <a:ext cx="8356037" cy="3432076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Text Placeholder 14"/>
          <p:cNvSpPr txBox="1">
            <a:spLocks/>
          </p:cNvSpPr>
          <p:nvPr/>
        </p:nvSpPr>
        <p:spPr>
          <a:xfrm>
            <a:off x="288111" y="3750756"/>
            <a:ext cx="3671886" cy="1024335"/>
          </a:xfrm>
          <a:prstGeom prst="rect">
            <a:avLst/>
          </a:prstGeom>
        </p:spPr>
        <p:txBody>
          <a:bodyPr vert="horz" wrap="square" lIns="143407" tIns="89630" rIns="143407" bIns="8963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</a:pPr>
            <a:r>
              <a:rPr lang="en-US" sz="1667" dirty="0">
                <a:solidFill>
                  <a:schemeClr val="accent6"/>
                </a:solidFill>
                <a:latin typeface="+mn-lt"/>
                <a:cs typeface="Segoe UI Semilight" panose="020B0402040204020203" pitchFamily="34" charset="0"/>
              </a:rPr>
              <a:t>Roll your own with REST API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</a:pPr>
            <a:r>
              <a:rPr lang="en-US" sz="1667" dirty="0">
                <a:solidFill>
                  <a:schemeClr val="accent6"/>
                </a:solidFill>
                <a:latin typeface="+mn-lt"/>
                <a:cs typeface="Segoe UI Semilight" panose="020B0402040204020203" pitchFamily="34" charset="0"/>
              </a:rPr>
              <a:t>Simple to add: just a few lines of code required</a:t>
            </a:r>
          </a:p>
        </p:txBody>
      </p:sp>
      <p:sp>
        <p:nvSpPr>
          <p:cNvPr id="32" name="Text Placeholder 14"/>
          <p:cNvSpPr txBox="1">
            <a:spLocks/>
          </p:cNvSpPr>
          <p:nvPr/>
        </p:nvSpPr>
        <p:spPr>
          <a:xfrm>
            <a:off x="4104837" y="3750755"/>
            <a:ext cx="3971162" cy="1255156"/>
          </a:xfrm>
          <a:prstGeom prst="rect">
            <a:avLst/>
          </a:prstGeom>
        </p:spPr>
        <p:txBody>
          <a:bodyPr vert="horz" wrap="square" lIns="143407" tIns="89630" rIns="143407" bIns="8963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</a:pPr>
            <a:r>
              <a:rPr lang="en-US" sz="1667" dirty="0">
                <a:solidFill>
                  <a:schemeClr val="accent6"/>
                </a:solidFill>
                <a:latin typeface="+mn-lt"/>
                <a:cs typeface="Segoe UI Semilight" panose="020B0402040204020203" pitchFamily="34" charset="0"/>
              </a:rPr>
              <a:t>Integrate into the language and platform of your choi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</a:pPr>
            <a:r>
              <a:rPr lang="en-US" sz="1667" dirty="0">
                <a:solidFill>
                  <a:schemeClr val="accent6"/>
                </a:solidFill>
                <a:latin typeface="+mn-lt"/>
                <a:cs typeface="Segoe UI Semilight" panose="020B0402040204020203" pitchFamily="34" charset="0"/>
              </a:rPr>
              <a:t>Breadth of offerings helps you find the right API for your app</a:t>
            </a:r>
          </a:p>
        </p:txBody>
      </p:sp>
      <p:sp>
        <p:nvSpPr>
          <p:cNvPr id="33" name="Text Placeholder 14"/>
          <p:cNvSpPr txBox="1">
            <a:spLocks/>
          </p:cNvSpPr>
          <p:nvPr/>
        </p:nvSpPr>
        <p:spPr>
          <a:xfrm>
            <a:off x="8220839" y="3750756"/>
            <a:ext cx="3711360" cy="1485976"/>
          </a:xfrm>
          <a:prstGeom prst="rect">
            <a:avLst/>
          </a:prstGeom>
        </p:spPr>
        <p:txBody>
          <a:bodyPr vert="horz" wrap="square" lIns="143407" tIns="89630" rIns="143407" bIns="89630" rtlCol="0" anchor="t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</a:pPr>
            <a:r>
              <a:rPr lang="en-US" sz="1667" dirty="0">
                <a:solidFill>
                  <a:schemeClr val="accent6"/>
                </a:solidFill>
                <a:latin typeface="+mn-lt"/>
                <a:cs typeface="Segoe UI Semilight" panose="020B0402040204020203" pitchFamily="34" charset="0"/>
              </a:rPr>
              <a:t>Built by experts in their field from Microsoft Research, Bing, and Azure Machine Learning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</a:pPr>
            <a:r>
              <a:rPr lang="en-US" sz="1667" dirty="0">
                <a:solidFill>
                  <a:schemeClr val="accent6"/>
                </a:solidFill>
                <a:latin typeface="+mn-lt"/>
                <a:cs typeface="Segoe UI Semilight" panose="020B0402040204020203" pitchFamily="34" charset="0"/>
              </a:rPr>
              <a:t>Quality documentation, sample code, and community suppor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14662" y="3176679"/>
            <a:ext cx="737702" cy="454420"/>
          </a:xfrm>
          <a:prstGeom prst="rect">
            <a:avLst/>
          </a:prstGeom>
          <a:solidFill>
            <a:schemeClr val="accent3"/>
          </a:solidFill>
        </p:spPr>
        <p:txBody>
          <a:bodyPr wrap="none" rtlCol="0" anchor="ctr">
            <a:spAutoFit/>
          </a:bodyPr>
          <a:lstStyle/>
          <a:p>
            <a:pPr algn="ctr" defTabSz="914225"/>
            <a:r>
              <a:rPr lang="en-US" sz="2353" kern="0" dirty="0">
                <a:solidFill>
                  <a:schemeClr val="bg2"/>
                </a:solidFill>
                <a:latin typeface="Segoe UI Light"/>
                <a:cs typeface="Segoe UI Semilight" panose="020B0402040204020203" pitchFamily="34" charset="0"/>
              </a:rPr>
              <a:t>Easy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538565" y="3176679"/>
            <a:ext cx="1112805" cy="454420"/>
          </a:xfrm>
          <a:prstGeom prst="rect">
            <a:avLst/>
          </a:prstGeom>
          <a:solidFill>
            <a:schemeClr val="accent1"/>
          </a:solidFill>
        </p:spPr>
        <p:txBody>
          <a:bodyPr wrap="none" rtlCol="0" anchor="ctr">
            <a:spAutoFit/>
          </a:bodyPr>
          <a:lstStyle/>
          <a:p>
            <a:pPr algn="ctr" defTabSz="914225"/>
            <a:r>
              <a:rPr lang="en-US" sz="2353" kern="0" dirty="0">
                <a:solidFill>
                  <a:schemeClr val="bg2"/>
                </a:solidFill>
                <a:latin typeface="Segoe UI Light"/>
                <a:cs typeface="Segoe UI Semilight" panose="020B0402040204020203" pitchFamily="34" charset="0"/>
              </a:rPr>
              <a:t>Flexibl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697307" y="3176679"/>
            <a:ext cx="1018228" cy="454420"/>
          </a:xfrm>
          <a:prstGeom prst="rect">
            <a:avLst/>
          </a:prstGeom>
          <a:solidFill>
            <a:schemeClr val="accent5"/>
          </a:solidFill>
        </p:spPr>
        <p:txBody>
          <a:bodyPr wrap="none" rtlCol="0" anchor="ctr">
            <a:spAutoFit/>
          </a:bodyPr>
          <a:lstStyle/>
          <a:p>
            <a:pPr algn="ctr" defTabSz="914225"/>
            <a:r>
              <a:rPr lang="en-US" sz="2353" kern="0" dirty="0">
                <a:solidFill>
                  <a:schemeClr val="bg2"/>
                </a:solidFill>
                <a:latin typeface="Segoe UI Light"/>
                <a:cs typeface="Segoe UI Semilight" panose="020B0402040204020203" pitchFamily="34" charset="0"/>
              </a:rPr>
              <a:t>Tes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88111" y="1388359"/>
            <a:ext cx="11634652" cy="899537"/>
          </a:xfrm>
        </p:spPr>
        <p:txBody>
          <a:bodyPr>
            <a:noAutofit/>
          </a:bodyPr>
          <a:lstStyle/>
          <a:p>
            <a:r>
              <a:rPr lang="en-US" sz="5294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Why Microsoft </a:t>
            </a:r>
            <a:br>
              <a:rPr lang="en-US" sz="5294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</a:br>
            <a:r>
              <a:rPr lang="en-US" sz="5294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ognitive Services?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934114" y="5212397"/>
            <a:ext cx="1962417" cy="1323803"/>
            <a:chOff x="952844" y="5316420"/>
            <a:chExt cx="2001768" cy="1350348"/>
          </a:xfrm>
        </p:grpSpPr>
        <p:grpSp>
          <p:nvGrpSpPr>
            <p:cNvPr id="7" name="Group 6"/>
            <p:cNvGrpSpPr/>
            <p:nvPr/>
          </p:nvGrpSpPr>
          <p:grpSpPr>
            <a:xfrm>
              <a:off x="952844" y="5316420"/>
              <a:ext cx="1091279" cy="1091279"/>
              <a:chOff x="952844" y="5316420"/>
              <a:chExt cx="1091279" cy="1091279"/>
            </a:xfrm>
          </p:grpSpPr>
          <p:pic>
            <p:nvPicPr>
              <p:cNvPr id="3" name="Picture 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52844" y="5316420"/>
                <a:ext cx="1091279" cy="1091279"/>
              </a:xfrm>
              <a:prstGeom prst="rect">
                <a:avLst/>
              </a:prstGeom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985751" y="5492045"/>
                <a:ext cx="999265" cy="744408"/>
              </a:xfrm>
              <a:prstGeom prst="rect">
                <a:avLst/>
              </a:prstGeom>
              <a:noFill/>
            </p:spPr>
            <p:txBody>
              <a:bodyPr wrap="square" lIns="182854" tIns="146284" rIns="182854" bIns="146284" rtlCol="0" anchor="ctr">
                <a:spAutoFit/>
              </a:bodyPr>
              <a:lstStyle/>
              <a:p>
                <a:pPr algn="ctr" defTabSz="914225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568" b="1" kern="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GET A</a:t>
                </a:r>
                <a:br>
                  <a:rPr lang="en-US" sz="1568" b="1" kern="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lang="en-US" sz="1568" b="1" kern="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 KEY</a:t>
                </a: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954781" y="5666937"/>
              <a:ext cx="999831" cy="999831"/>
              <a:chOff x="1954781" y="5666937"/>
              <a:chExt cx="999831" cy="999831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54781" y="5666937"/>
                <a:ext cx="999831" cy="999831"/>
              </a:xfrm>
              <a:prstGeom prst="rect">
                <a:avLst/>
              </a:prstGeom>
            </p:spPr>
          </p:pic>
          <p:sp>
            <p:nvSpPr>
              <p:cNvPr id="53" name="TextBox 52"/>
              <p:cNvSpPr txBox="1"/>
              <p:nvPr/>
            </p:nvSpPr>
            <p:spPr>
              <a:xfrm>
                <a:off x="1965665" y="5909216"/>
                <a:ext cx="961798" cy="518524"/>
              </a:xfrm>
              <a:prstGeom prst="rect">
                <a:avLst/>
              </a:prstGeom>
              <a:noFill/>
            </p:spPr>
            <p:txBody>
              <a:bodyPr wrap="square" lIns="182854" tIns="146284" rIns="182854" bIns="146284" rtlCol="0" anchor="ctr">
                <a:spAutoFit/>
              </a:bodyPr>
              <a:lstStyle/>
              <a:p>
                <a:pPr algn="ctr" defTabSz="914225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568" kern="0" dirty="0">
                    <a:gradFill>
                      <a:gsLst>
                        <a:gs pos="2917">
                          <a:srgbClr val="FFFFFF"/>
                        </a:gs>
                        <a:gs pos="3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BUILD</a:t>
                </a: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4614706" y="5511571"/>
            <a:ext cx="2962588" cy="1107242"/>
            <a:chOff x="4707240" y="5484107"/>
            <a:chExt cx="3021994" cy="1129445"/>
          </a:xfrm>
        </p:grpSpPr>
        <p:sp>
          <p:nvSpPr>
            <p:cNvPr id="44" name="Freeform 11"/>
            <p:cNvSpPr>
              <a:spLocks noEditPoints="1"/>
            </p:cNvSpPr>
            <p:nvPr/>
          </p:nvSpPr>
          <p:spPr bwMode="black">
            <a:xfrm>
              <a:off x="5992058" y="5484107"/>
              <a:ext cx="409932" cy="504698"/>
            </a:xfrm>
            <a:custGeom>
              <a:avLst/>
              <a:gdLst>
                <a:gd name="T0" fmla="*/ 574 w 618"/>
                <a:gd name="T1" fmla="*/ 227 h 723"/>
                <a:gd name="T2" fmla="*/ 530 w 618"/>
                <a:gd name="T3" fmla="*/ 272 h 723"/>
                <a:gd name="T4" fmla="*/ 530 w 618"/>
                <a:gd name="T5" fmla="*/ 446 h 723"/>
                <a:gd name="T6" fmla="*/ 574 w 618"/>
                <a:gd name="T7" fmla="*/ 491 h 723"/>
                <a:gd name="T8" fmla="*/ 618 w 618"/>
                <a:gd name="T9" fmla="*/ 446 h 723"/>
                <a:gd name="T10" fmla="*/ 618 w 618"/>
                <a:gd name="T11" fmla="*/ 272 h 723"/>
                <a:gd name="T12" fmla="*/ 574 w 618"/>
                <a:gd name="T13" fmla="*/ 227 h 723"/>
                <a:gd name="T14" fmla="*/ 44 w 618"/>
                <a:gd name="T15" fmla="*/ 227 h 723"/>
                <a:gd name="T16" fmla="*/ 0 w 618"/>
                <a:gd name="T17" fmla="*/ 272 h 723"/>
                <a:gd name="T18" fmla="*/ 0 w 618"/>
                <a:gd name="T19" fmla="*/ 446 h 723"/>
                <a:gd name="T20" fmla="*/ 44 w 618"/>
                <a:gd name="T21" fmla="*/ 491 h 723"/>
                <a:gd name="T22" fmla="*/ 88 w 618"/>
                <a:gd name="T23" fmla="*/ 446 h 723"/>
                <a:gd name="T24" fmla="*/ 88 w 618"/>
                <a:gd name="T25" fmla="*/ 272 h 723"/>
                <a:gd name="T26" fmla="*/ 44 w 618"/>
                <a:gd name="T27" fmla="*/ 227 h 723"/>
                <a:gd name="T28" fmla="*/ 505 w 618"/>
                <a:gd name="T29" fmla="*/ 228 h 723"/>
                <a:gd name="T30" fmla="*/ 505 w 618"/>
                <a:gd name="T31" fmla="*/ 547 h 723"/>
                <a:gd name="T32" fmla="*/ 471 w 618"/>
                <a:gd name="T33" fmla="*/ 581 h 723"/>
                <a:gd name="T34" fmla="*/ 432 w 618"/>
                <a:gd name="T35" fmla="*/ 581 h 723"/>
                <a:gd name="T36" fmla="*/ 432 w 618"/>
                <a:gd name="T37" fmla="*/ 678 h 723"/>
                <a:gd name="T38" fmla="*/ 388 w 618"/>
                <a:gd name="T39" fmla="*/ 723 h 723"/>
                <a:gd name="T40" fmla="*/ 344 w 618"/>
                <a:gd name="T41" fmla="*/ 678 h 723"/>
                <a:gd name="T42" fmla="*/ 344 w 618"/>
                <a:gd name="T43" fmla="*/ 581 h 723"/>
                <a:gd name="T44" fmla="*/ 276 w 618"/>
                <a:gd name="T45" fmla="*/ 581 h 723"/>
                <a:gd name="T46" fmla="*/ 276 w 618"/>
                <a:gd name="T47" fmla="*/ 678 h 723"/>
                <a:gd name="T48" fmla="*/ 232 w 618"/>
                <a:gd name="T49" fmla="*/ 723 h 723"/>
                <a:gd name="T50" fmla="*/ 188 w 618"/>
                <a:gd name="T51" fmla="*/ 678 h 723"/>
                <a:gd name="T52" fmla="*/ 188 w 618"/>
                <a:gd name="T53" fmla="*/ 581 h 723"/>
                <a:gd name="T54" fmla="*/ 149 w 618"/>
                <a:gd name="T55" fmla="*/ 581 h 723"/>
                <a:gd name="T56" fmla="*/ 115 w 618"/>
                <a:gd name="T57" fmla="*/ 547 h 723"/>
                <a:gd name="T58" fmla="*/ 115 w 618"/>
                <a:gd name="T59" fmla="*/ 228 h 723"/>
                <a:gd name="T60" fmla="*/ 505 w 618"/>
                <a:gd name="T61" fmla="*/ 228 h 723"/>
                <a:gd name="T62" fmla="*/ 402 w 618"/>
                <a:gd name="T63" fmla="*/ 63 h 723"/>
                <a:gd name="T64" fmla="*/ 438 w 618"/>
                <a:gd name="T65" fmla="*/ 11 h 723"/>
                <a:gd name="T66" fmla="*/ 437 w 618"/>
                <a:gd name="T67" fmla="*/ 2 h 723"/>
                <a:gd name="T68" fmla="*/ 428 w 618"/>
                <a:gd name="T69" fmla="*/ 4 h 723"/>
                <a:gd name="T70" fmla="*/ 390 w 618"/>
                <a:gd name="T71" fmla="*/ 59 h 723"/>
                <a:gd name="T72" fmla="*/ 309 w 618"/>
                <a:gd name="T73" fmla="*/ 43 h 723"/>
                <a:gd name="T74" fmla="*/ 228 w 618"/>
                <a:gd name="T75" fmla="*/ 59 h 723"/>
                <a:gd name="T76" fmla="*/ 190 w 618"/>
                <a:gd name="T77" fmla="*/ 4 h 723"/>
                <a:gd name="T78" fmla="*/ 181 w 618"/>
                <a:gd name="T79" fmla="*/ 2 h 723"/>
                <a:gd name="T80" fmla="*/ 180 w 618"/>
                <a:gd name="T81" fmla="*/ 11 h 723"/>
                <a:gd name="T82" fmla="*/ 216 w 618"/>
                <a:gd name="T83" fmla="*/ 63 h 723"/>
                <a:gd name="T84" fmla="*/ 114 w 618"/>
                <a:gd name="T85" fmla="*/ 200 h 723"/>
                <a:gd name="T86" fmla="*/ 504 w 618"/>
                <a:gd name="T87" fmla="*/ 200 h 723"/>
                <a:gd name="T88" fmla="*/ 402 w 618"/>
                <a:gd name="T89" fmla="*/ 63 h 723"/>
                <a:gd name="T90" fmla="*/ 227 w 618"/>
                <a:gd name="T91" fmla="*/ 146 h 723"/>
                <a:gd name="T92" fmla="*/ 205 w 618"/>
                <a:gd name="T93" fmla="*/ 124 h 723"/>
                <a:gd name="T94" fmla="*/ 227 w 618"/>
                <a:gd name="T95" fmla="*/ 103 h 723"/>
                <a:gd name="T96" fmla="*/ 248 w 618"/>
                <a:gd name="T97" fmla="*/ 124 h 723"/>
                <a:gd name="T98" fmla="*/ 227 w 618"/>
                <a:gd name="T99" fmla="*/ 146 h 723"/>
                <a:gd name="T100" fmla="*/ 394 w 618"/>
                <a:gd name="T101" fmla="*/ 146 h 723"/>
                <a:gd name="T102" fmla="*/ 373 w 618"/>
                <a:gd name="T103" fmla="*/ 124 h 723"/>
                <a:gd name="T104" fmla="*/ 394 w 618"/>
                <a:gd name="T105" fmla="*/ 103 h 723"/>
                <a:gd name="T106" fmla="*/ 416 w 618"/>
                <a:gd name="T107" fmla="*/ 124 h 723"/>
                <a:gd name="T108" fmla="*/ 394 w 618"/>
                <a:gd name="T109" fmla="*/ 146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18" h="723">
                  <a:moveTo>
                    <a:pt x="574" y="227"/>
                  </a:moveTo>
                  <a:cubicBezTo>
                    <a:pt x="550" y="227"/>
                    <a:pt x="530" y="247"/>
                    <a:pt x="530" y="272"/>
                  </a:cubicBezTo>
                  <a:cubicBezTo>
                    <a:pt x="530" y="446"/>
                    <a:pt x="530" y="446"/>
                    <a:pt x="530" y="446"/>
                  </a:cubicBezTo>
                  <a:cubicBezTo>
                    <a:pt x="530" y="471"/>
                    <a:pt x="550" y="491"/>
                    <a:pt x="574" y="491"/>
                  </a:cubicBezTo>
                  <a:cubicBezTo>
                    <a:pt x="598" y="491"/>
                    <a:pt x="618" y="471"/>
                    <a:pt x="618" y="446"/>
                  </a:cubicBezTo>
                  <a:cubicBezTo>
                    <a:pt x="618" y="272"/>
                    <a:pt x="618" y="272"/>
                    <a:pt x="618" y="272"/>
                  </a:cubicBezTo>
                  <a:cubicBezTo>
                    <a:pt x="618" y="247"/>
                    <a:pt x="598" y="227"/>
                    <a:pt x="574" y="227"/>
                  </a:cubicBezTo>
                  <a:close/>
                  <a:moveTo>
                    <a:pt x="44" y="227"/>
                  </a:moveTo>
                  <a:cubicBezTo>
                    <a:pt x="20" y="227"/>
                    <a:pt x="0" y="247"/>
                    <a:pt x="0" y="272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471"/>
                    <a:pt x="20" y="491"/>
                    <a:pt x="44" y="491"/>
                  </a:cubicBezTo>
                  <a:cubicBezTo>
                    <a:pt x="68" y="491"/>
                    <a:pt x="88" y="471"/>
                    <a:pt x="88" y="446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47"/>
                    <a:pt x="68" y="227"/>
                    <a:pt x="44" y="227"/>
                  </a:cubicBezTo>
                  <a:close/>
                  <a:moveTo>
                    <a:pt x="505" y="228"/>
                  </a:moveTo>
                  <a:cubicBezTo>
                    <a:pt x="505" y="547"/>
                    <a:pt x="505" y="547"/>
                    <a:pt x="505" y="547"/>
                  </a:cubicBezTo>
                  <a:cubicBezTo>
                    <a:pt x="505" y="566"/>
                    <a:pt x="490" y="581"/>
                    <a:pt x="471" y="581"/>
                  </a:cubicBezTo>
                  <a:cubicBezTo>
                    <a:pt x="432" y="581"/>
                    <a:pt x="432" y="581"/>
                    <a:pt x="432" y="581"/>
                  </a:cubicBezTo>
                  <a:cubicBezTo>
                    <a:pt x="432" y="678"/>
                    <a:pt x="432" y="678"/>
                    <a:pt x="432" y="678"/>
                  </a:cubicBezTo>
                  <a:cubicBezTo>
                    <a:pt x="432" y="703"/>
                    <a:pt x="412" y="723"/>
                    <a:pt x="388" y="723"/>
                  </a:cubicBezTo>
                  <a:cubicBezTo>
                    <a:pt x="364" y="723"/>
                    <a:pt x="344" y="703"/>
                    <a:pt x="344" y="678"/>
                  </a:cubicBezTo>
                  <a:cubicBezTo>
                    <a:pt x="344" y="581"/>
                    <a:pt x="344" y="581"/>
                    <a:pt x="344" y="581"/>
                  </a:cubicBezTo>
                  <a:cubicBezTo>
                    <a:pt x="276" y="581"/>
                    <a:pt x="276" y="581"/>
                    <a:pt x="276" y="581"/>
                  </a:cubicBezTo>
                  <a:cubicBezTo>
                    <a:pt x="276" y="678"/>
                    <a:pt x="276" y="678"/>
                    <a:pt x="276" y="678"/>
                  </a:cubicBezTo>
                  <a:cubicBezTo>
                    <a:pt x="276" y="703"/>
                    <a:pt x="256" y="723"/>
                    <a:pt x="232" y="723"/>
                  </a:cubicBezTo>
                  <a:cubicBezTo>
                    <a:pt x="208" y="723"/>
                    <a:pt x="188" y="703"/>
                    <a:pt x="188" y="678"/>
                  </a:cubicBezTo>
                  <a:cubicBezTo>
                    <a:pt x="188" y="581"/>
                    <a:pt x="188" y="581"/>
                    <a:pt x="188" y="581"/>
                  </a:cubicBezTo>
                  <a:cubicBezTo>
                    <a:pt x="149" y="581"/>
                    <a:pt x="149" y="581"/>
                    <a:pt x="149" y="581"/>
                  </a:cubicBezTo>
                  <a:cubicBezTo>
                    <a:pt x="130" y="581"/>
                    <a:pt x="115" y="566"/>
                    <a:pt x="115" y="547"/>
                  </a:cubicBezTo>
                  <a:cubicBezTo>
                    <a:pt x="115" y="228"/>
                    <a:pt x="115" y="228"/>
                    <a:pt x="115" y="228"/>
                  </a:cubicBezTo>
                  <a:lnTo>
                    <a:pt x="505" y="228"/>
                  </a:lnTo>
                  <a:close/>
                  <a:moveTo>
                    <a:pt x="402" y="63"/>
                  </a:moveTo>
                  <a:cubicBezTo>
                    <a:pt x="438" y="11"/>
                    <a:pt x="438" y="11"/>
                    <a:pt x="438" y="11"/>
                  </a:cubicBezTo>
                  <a:cubicBezTo>
                    <a:pt x="440" y="8"/>
                    <a:pt x="439" y="4"/>
                    <a:pt x="437" y="2"/>
                  </a:cubicBezTo>
                  <a:cubicBezTo>
                    <a:pt x="434" y="0"/>
                    <a:pt x="430" y="1"/>
                    <a:pt x="428" y="4"/>
                  </a:cubicBezTo>
                  <a:cubicBezTo>
                    <a:pt x="390" y="59"/>
                    <a:pt x="390" y="59"/>
                    <a:pt x="390" y="59"/>
                  </a:cubicBezTo>
                  <a:cubicBezTo>
                    <a:pt x="365" y="49"/>
                    <a:pt x="338" y="43"/>
                    <a:pt x="309" y="43"/>
                  </a:cubicBezTo>
                  <a:cubicBezTo>
                    <a:pt x="280" y="43"/>
                    <a:pt x="253" y="49"/>
                    <a:pt x="228" y="59"/>
                  </a:cubicBezTo>
                  <a:cubicBezTo>
                    <a:pt x="190" y="4"/>
                    <a:pt x="190" y="4"/>
                    <a:pt x="190" y="4"/>
                  </a:cubicBezTo>
                  <a:cubicBezTo>
                    <a:pt x="188" y="1"/>
                    <a:pt x="184" y="0"/>
                    <a:pt x="181" y="2"/>
                  </a:cubicBezTo>
                  <a:cubicBezTo>
                    <a:pt x="179" y="4"/>
                    <a:pt x="178" y="8"/>
                    <a:pt x="180" y="11"/>
                  </a:cubicBezTo>
                  <a:cubicBezTo>
                    <a:pt x="216" y="63"/>
                    <a:pt x="216" y="63"/>
                    <a:pt x="216" y="63"/>
                  </a:cubicBezTo>
                  <a:cubicBezTo>
                    <a:pt x="159" y="90"/>
                    <a:pt x="119" y="141"/>
                    <a:pt x="114" y="200"/>
                  </a:cubicBezTo>
                  <a:cubicBezTo>
                    <a:pt x="504" y="200"/>
                    <a:pt x="504" y="200"/>
                    <a:pt x="504" y="200"/>
                  </a:cubicBezTo>
                  <a:cubicBezTo>
                    <a:pt x="499" y="141"/>
                    <a:pt x="459" y="90"/>
                    <a:pt x="402" y="63"/>
                  </a:cubicBezTo>
                  <a:close/>
                  <a:moveTo>
                    <a:pt x="227" y="146"/>
                  </a:moveTo>
                  <a:cubicBezTo>
                    <a:pt x="215" y="146"/>
                    <a:pt x="205" y="136"/>
                    <a:pt x="205" y="124"/>
                  </a:cubicBezTo>
                  <a:cubicBezTo>
                    <a:pt x="205" y="113"/>
                    <a:pt x="215" y="103"/>
                    <a:pt x="227" y="103"/>
                  </a:cubicBezTo>
                  <a:cubicBezTo>
                    <a:pt x="239" y="103"/>
                    <a:pt x="248" y="113"/>
                    <a:pt x="248" y="124"/>
                  </a:cubicBezTo>
                  <a:cubicBezTo>
                    <a:pt x="248" y="136"/>
                    <a:pt x="239" y="146"/>
                    <a:pt x="227" y="146"/>
                  </a:cubicBezTo>
                  <a:close/>
                  <a:moveTo>
                    <a:pt x="394" y="146"/>
                  </a:moveTo>
                  <a:cubicBezTo>
                    <a:pt x="382" y="146"/>
                    <a:pt x="373" y="136"/>
                    <a:pt x="373" y="124"/>
                  </a:cubicBezTo>
                  <a:cubicBezTo>
                    <a:pt x="373" y="113"/>
                    <a:pt x="382" y="103"/>
                    <a:pt x="394" y="103"/>
                  </a:cubicBezTo>
                  <a:cubicBezTo>
                    <a:pt x="406" y="103"/>
                    <a:pt x="416" y="113"/>
                    <a:pt x="416" y="124"/>
                  </a:cubicBezTo>
                  <a:cubicBezTo>
                    <a:pt x="416" y="136"/>
                    <a:pt x="406" y="146"/>
                    <a:pt x="394" y="146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kern="0">
                <a:solidFill>
                  <a:srgbClr val="505050"/>
                </a:solidFill>
              </a:endParaRPr>
            </a:p>
          </p:txBody>
        </p:sp>
        <p:sp>
          <p:nvSpPr>
            <p:cNvPr id="48" name="Freeform 47"/>
            <p:cNvSpPr>
              <a:spLocks noChangeAspect="1" noEditPoints="1"/>
            </p:cNvSpPr>
            <p:nvPr/>
          </p:nvSpPr>
          <p:spPr bwMode="black">
            <a:xfrm>
              <a:off x="4933693" y="5545084"/>
              <a:ext cx="384308" cy="382744"/>
            </a:xfrm>
            <a:custGeom>
              <a:avLst/>
              <a:gdLst>
                <a:gd name="T0" fmla="*/ 112 w 246"/>
                <a:gd name="T1" fmla="*/ 19 h 245"/>
                <a:gd name="T2" fmla="*/ 246 w 246"/>
                <a:gd name="T3" fmla="*/ 0 h 245"/>
                <a:gd name="T4" fmla="*/ 246 w 246"/>
                <a:gd name="T5" fmla="*/ 116 h 245"/>
                <a:gd name="T6" fmla="*/ 112 w 246"/>
                <a:gd name="T7" fmla="*/ 116 h 245"/>
                <a:gd name="T8" fmla="*/ 112 w 246"/>
                <a:gd name="T9" fmla="*/ 19 h 245"/>
                <a:gd name="T10" fmla="*/ 102 w 246"/>
                <a:gd name="T11" fmla="*/ 116 h 245"/>
                <a:gd name="T12" fmla="*/ 102 w 246"/>
                <a:gd name="T13" fmla="*/ 19 h 245"/>
                <a:gd name="T14" fmla="*/ 0 w 246"/>
                <a:gd name="T15" fmla="*/ 34 h 245"/>
                <a:gd name="T16" fmla="*/ 0 w 246"/>
                <a:gd name="T17" fmla="*/ 116 h 245"/>
                <a:gd name="T18" fmla="*/ 102 w 246"/>
                <a:gd name="T19" fmla="*/ 116 h 245"/>
                <a:gd name="T20" fmla="*/ 102 w 246"/>
                <a:gd name="T21" fmla="*/ 126 h 245"/>
                <a:gd name="T22" fmla="*/ 0 w 246"/>
                <a:gd name="T23" fmla="*/ 126 h 245"/>
                <a:gd name="T24" fmla="*/ 0 w 246"/>
                <a:gd name="T25" fmla="*/ 211 h 245"/>
                <a:gd name="T26" fmla="*/ 102 w 246"/>
                <a:gd name="T27" fmla="*/ 226 h 245"/>
                <a:gd name="T28" fmla="*/ 102 w 246"/>
                <a:gd name="T29" fmla="*/ 126 h 245"/>
                <a:gd name="T30" fmla="*/ 112 w 246"/>
                <a:gd name="T31" fmla="*/ 126 h 245"/>
                <a:gd name="T32" fmla="*/ 112 w 246"/>
                <a:gd name="T33" fmla="*/ 226 h 245"/>
                <a:gd name="T34" fmla="*/ 246 w 246"/>
                <a:gd name="T35" fmla="*/ 245 h 245"/>
                <a:gd name="T36" fmla="*/ 246 w 246"/>
                <a:gd name="T37" fmla="*/ 126 h 245"/>
                <a:gd name="T38" fmla="*/ 112 w 246"/>
                <a:gd name="T39" fmla="*/ 12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6" h="245">
                  <a:moveTo>
                    <a:pt x="112" y="19"/>
                  </a:moveTo>
                  <a:lnTo>
                    <a:pt x="246" y="0"/>
                  </a:lnTo>
                  <a:lnTo>
                    <a:pt x="246" y="116"/>
                  </a:lnTo>
                  <a:lnTo>
                    <a:pt x="112" y="116"/>
                  </a:lnTo>
                  <a:lnTo>
                    <a:pt x="112" y="19"/>
                  </a:lnTo>
                  <a:close/>
                  <a:moveTo>
                    <a:pt x="102" y="116"/>
                  </a:moveTo>
                  <a:lnTo>
                    <a:pt x="102" y="19"/>
                  </a:lnTo>
                  <a:lnTo>
                    <a:pt x="0" y="34"/>
                  </a:lnTo>
                  <a:lnTo>
                    <a:pt x="0" y="116"/>
                  </a:lnTo>
                  <a:lnTo>
                    <a:pt x="102" y="116"/>
                  </a:lnTo>
                  <a:close/>
                  <a:moveTo>
                    <a:pt x="102" y="126"/>
                  </a:moveTo>
                  <a:lnTo>
                    <a:pt x="0" y="126"/>
                  </a:lnTo>
                  <a:lnTo>
                    <a:pt x="0" y="211"/>
                  </a:lnTo>
                  <a:lnTo>
                    <a:pt x="102" y="226"/>
                  </a:lnTo>
                  <a:lnTo>
                    <a:pt x="102" y="126"/>
                  </a:lnTo>
                  <a:close/>
                  <a:moveTo>
                    <a:pt x="112" y="126"/>
                  </a:moveTo>
                  <a:lnTo>
                    <a:pt x="112" y="226"/>
                  </a:lnTo>
                  <a:lnTo>
                    <a:pt x="246" y="245"/>
                  </a:lnTo>
                  <a:lnTo>
                    <a:pt x="246" y="126"/>
                  </a:lnTo>
                  <a:lnTo>
                    <a:pt x="112" y="126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kern="0" dirty="0">
                <a:solidFill>
                  <a:srgbClr val="505050"/>
                </a:solidFill>
              </a:endParaRPr>
            </a:p>
          </p:txBody>
        </p:sp>
        <p:grpSp>
          <p:nvGrpSpPr>
            <p:cNvPr id="49" name="Group 48"/>
            <p:cNvGrpSpPr>
              <a:grpSpLocks noChangeAspect="1"/>
            </p:cNvGrpSpPr>
            <p:nvPr/>
          </p:nvGrpSpPr>
          <p:grpSpPr bwMode="black">
            <a:xfrm>
              <a:off x="7076047" y="5487529"/>
              <a:ext cx="426734" cy="497854"/>
              <a:chOff x="396875" y="1300163"/>
              <a:chExt cx="1162051" cy="1355725"/>
            </a:xfrm>
          </p:grpSpPr>
          <p:sp>
            <p:nvSpPr>
              <p:cNvPr id="50" name="Freeform 49"/>
              <p:cNvSpPr>
                <a:spLocks/>
              </p:cNvSpPr>
              <p:nvPr/>
            </p:nvSpPr>
            <p:spPr bwMode="black">
              <a:xfrm>
                <a:off x="396875" y="1616075"/>
                <a:ext cx="1162051" cy="1039813"/>
              </a:xfrm>
              <a:custGeom>
                <a:avLst/>
                <a:gdLst>
                  <a:gd name="T0" fmla="*/ 455 w 539"/>
                  <a:gd name="T1" fmla="*/ 186 h 482"/>
                  <a:gd name="T2" fmla="*/ 522 w 539"/>
                  <a:gd name="T3" fmla="*/ 67 h 482"/>
                  <a:gd name="T4" fmla="*/ 408 w 539"/>
                  <a:gd name="T5" fmla="*/ 5 h 482"/>
                  <a:gd name="T6" fmla="*/ 288 w 539"/>
                  <a:gd name="T7" fmla="*/ 34 h 482"/>
                  <a:gd name="T8" fmla="*/ 184 w 539"/>
                  <a:gd name="T9" fmla="*/ 7 h 482"/>
                  <a:gd name="T10" fmla="*/ 55 w 539"/>
                  <a:gd name="T11" fmla="*/ 86 h 482"/>
                  <a:gd name="T12" fmla="*/ 95 w 539"/>
                  <a:gd name="T13" fmla="*/ 401 h 482"/>
                  <a:gd name="T14" fmla="*/ 194 w 539"/>
                  <a:gd name="T15" fmla="*/ 480 h 482"/>
                  <a:gd name="T16" fmla="*/ 296 w 539"/>
                  <a:gd name="T17" fmla="*/ 455 h 482"/>
                  <a:gd name="T18" fmla="*/ 400 w 539"/>
                  <a:gd name="T19" fmla="*/ 479 h 482"/>
                  <a:gd name="T20" fmla="*/ 496 w 539"/>
                  <a:gd name="T21" fmla="*/ 402 h 482"/>
                  <a:gd name="T22" fmla="*/ 539 w 539"/>
                  <a:gd name="T23" fmla="*/ 313 h 482"/>
                  <a:gd name="T24" fmla="*/ 455 w 539"/>
                  <a:gd name="T25" fmla="*/ 186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9" h="482">
                    <a:moveTo>
                      <a:pt x="455" y="186"/>
                    </a:moveTo>
                    <a:cubicBezTo>
                      <a:pt x="454" y="107"/>
                      <a:pt x="519" y="69"/>
                      <a:pt x="522" y="67"/>
                    </a:cubicBezTo>
                    <a:cubicBezTo>
                      <a:pt x="485" y="13"/>
                      <a:pt x="428" y="6"/>
                      <a:pt x="408" y="5"/>
                    </a:cubicBezTo>
                    <a:cubicBezTo>
                      <a:pt x="359" y="0"/>
                      <a:pt x="312" y="34"/>
                      <a:pt x="288" y="34"/>
                    </a:cubicBezTo>
                    <a:cubicBezTo>
                      <a:pt x="263" y="34"/>
                      <a:pt x="225" y="6"/>
                      <a:pt x="184" y="7"/>
                    </a:cubicBezTo>
                    <a:cubicBezTo>
                      <a:pt x="131" y="8"/>
                      <a:pt x="82" y="38"/>
                      <a:pt x="55" y="86"/>
                    </a:cubicBezTo>
                    <a:cubicBezTo>
                      <a:pt x="0" y="182"/>
                      <a:pt x="41" y="323"/>
                      <a:pt x="95" y="401"/>
                    </a:cubicBezTo>
                    <a:cubicBezTo>
                      <a:pt x="121" y="439"/>
                      <a:pt x="153" y="482"/>
                      <a:pt x="194" y="480"/>
                    </a:cubicBezTo>
                    <a:cubicBezTo>
                      <a:pt x="234" y="479"/>
                      <a:pt x="248" y="455"/>
                      <a:pt x="296" y="455"/>
                    </a:cubicBezTo>
                    <a:cubicBezTo>
                      <a:pt x="344" y="454"/>
                      <a:pt x="358" y="480"/>
                      <a:pt x="400" y="479"/>
                    </a:cubicBezTo>
                    <a:cubicBezTo>
                      <a:pt x="443" y="478"/>
                      <a:pt x="470" y="440"/>
                      <a:pt x="496" y="402"/>
                    </a:cubicBezTo>
                    <a:cubicBezTo>
                      <a:pt x="526" y="358"/>
                      <a:pt x="538" y="315"/>
                      <a:pt x="539" y="313"/>
                    </a:cubicBezTo>
                    <a:cubicBezTo>
                      <a:pt x="538" y="313"/>
                      <a:pt x="456" y="281"/>
                      <a:pt x="455" y="186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kern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black">
              <a:xfrm>
                <a:off x="996950" y="1300163"/>
                <a:ext cx="288925" cy="317500"/>
              </a:xfrm>
              <a:custGeom>
                <a:avLst/>
                <a:gdLst>
                  <a:gd name="T0" fmla="*/ 98 w 134"/>
                  <a:gd name="T1" fmla="*/ 100 h 147"/>
                  <a:gd name="T2" fmla="*/ 130 w 134"/>
                  <a:gd name="T3" fmla="*/ 0 h 147"/>
                  <a:gd name="T4" fmla="*/ 38 w 134"/>
                  <a:gd name="T5" fmla="*/ 47 h 147"/>
                  <a:gd name="T6" fmla="*/ 5 w 134"/>
                  <a:gd name="T7" fmla="*/ 144 h 147"/>
                  <a:gd name="T8" fmla="*/ 98 w 134"/>
                  <a:gd name="T9" fmla="*/ 10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47">
                    <a:moveTo>
                      <a:pt x="98" y="100"/>
                    </a:moveTo>
                    <a:cubicBezTo>
                      <a:pt x="120" y="73"/>
                      <a:pt x="134" y="36"/>
                      <a:pt x="130" y="0"/>
                    </a:cubicBezTo>
                    <a:cubicBezTo>
                      <a:pt x="99" y="1"/>
                      <a:pt x="61" y="21"/>
                      <a:pt x="38" y="47"/>
                    </a:cubicBezTo>
                    <a:cubicBezTo>
                      <a:pt x="18" y="71"/>
                      <a:pt x="0" y="108"/>
                      <a:pt x="5" y="144"/>
                    </a:cubicBezTo>
                    <a:cubicBezTo>
                      <a:pt x="40" y="147"/>
                      <a:pt x="76" y="126"/>
                      <a:pt x="98" y="100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kern="0">
                  <a:solidFill>
                    <a:srgbClr val="505050"/>
                  </a:solidFill>
                </a:endParaRPr>
              </a:p>
            </p:txBody>
          </p:sp>
        </p:grpSp>
        <p:pic>
          <p:nvPicPr>
            <p:cNvPr id="2050" name="Picture 2" descr="http://iran-python.ir/images/python_logo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7240" y="6217447"/>
              <a:ext cx="1364974" cy="3961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http://mean.io/system/assets/img/logos/nodej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0073" y="6153593"/>
              <a:ext cx="1229161" cy="330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8337063" y="5542277"/>
            <a:ext cx="3534746" cy="1045830"/>
            <a:chOff x="8565839" y="5478462"/>
            <a:chExt cx="3605625" cy="1066801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35914" y="5606307"/>
              <a:ext cx="941121" cy="385860"/>
            </a:xfrm>
            <a:prstGeom prst="rect">
              <a:avLst/>
            </a:prstGeom>
            <a:noFill/>
          </p:spPr>
        </p:pic>
        <p:pic>
          <p:nvPicPr>
            <p:cNvPr id="2056" name="Picture 8" descr="http://social.technet.microsoft.com/wiki/resized-image.ashx/__size/550x0/__key/communityserver-wikis-components-files/00-00-00-00-05/7206.Msdn_5F00_logo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5839" y="6012235"/>
              <a:ext cx="1470798" cy="449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https://upload.wikimedia.org/wikipedia/en/d/d3/UserVoice_logo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75778" y="6063102"/>
              <a:ext cx="1946070" cy="482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http://i.imgur.com/pszAeGh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9757" y="5478462"/>
              <a:ext cx="1701707" cy="427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5595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00"/>
                            </p:stCondLst>
                            <p:childTnLst>
                              <p:par>
                                <p:cTn id="1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00"/>
                            </p:stCondLst>
                            <p:childTnLst>
                              <p:par>
                                <p:cTn id="2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8" grpId="0" animBg="1"/>
      <p:bldP spid="26" grpId="0" animBg="1"/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564776" y="1692503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Vision</a:t>
            </a:r>
          </a:p>
        </p:txBody>
      </p:sp>
      <p:sp>
        <p:nvSpPr>
          <p:cNvPr id="24" name="Freeform 22"/>
          <p:cNvSpPr>
            <a:spLocks noChangeAspect="1"/>
          </p:cNvSpPr>
          <p:nvPr/>
        </p:nvSpPr>
        <p:spPr bwMode="auto">
          <a:xfrm>
            <a:off x="5777887" y="2765597"/>
            <a:ext cx="661251" cy="437566"/>
          </a:xfrm>
          <a:custGeom>
            <a:avLst/>
            <a:gdLst>
              <a:gd name="T0" fmla="*/ 4942 w 7181"/>
              <a:gd name="T1" fmla="*/ 414 h 4752"/>
              <a:gd name="T2" fmla="*/ 3024 w 7181"/>
              <a:gd name="T3" fmla="*/ 152 h 4752"/>
              <a:gd name="T4" fmla="*/ 0 w 7181"/>
              <a:gd name="T5" fmla="*/ 2353 h 4752"/>
              <a:gd name="T6" fmla="*/ 2201 w 7181"/>
              <a:gd name="T7" fmla="*/ 4282 h 4752"/>
              <a:gd name="T8" fmla="*/ 4848 w 7181"/>
              <a:gd name="T9" fmla="*/ 4351 h 4752"/>
              <a:gd name="T10" fmla="*/ 7102 w 7181"/>
              <a:gd name="T11" fmla="*/ 2474 h 4752"/>
              <a:gd name="T12" fmla="*/ 7181 w 7181"/>
              <a:gd name="T13" fmla="*/ 2350 h 4752"/>
              <a:gd name="T14" fmla="*/ 4942 w 7181"/>
              <a:gd name="T15" fmla="*/ 414 h 4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81" h="4752">
                <a:moveTo>
                  <a:pt x="4942" y="414"/>
                </a:moveTo>
                <a:cubicBezTo>
                  <a:pt x="4333" y="124"/>
                  <a:pt x="3691" y="0"/>
                  <a:pt x="3024" y="152"/>
                </a:cubicBezTo>
                <a:cubicBezTo>
                  <a:pt x="1710" y="456"/>
                  <a:pt x="812" y="1327"/>
                  <a:pt x="0" y="2353"/>
                </a:cubicBezTo>
                <a:cubicBezTo>
                  <a:pt x="608" y="3169"/>
                  <a:pt x="1306" y="3839"/>
                  <a:pt x="2201" y="4282"/>
                </a:cubicBezTo>
                <a:cubicBezTo>
                  <a:pt x="3069" y="4710"/>
                  <a:pt x="3957" y="4752"/>
                  <a:pt x="4848" y="4351"/>
                </a:cubicBezTo>
                <a:cubicBezTo>
                  <a:pt x="5771" y="3932"/>
                  <a:pt x="6490" y="3269"/>
                  <a:pt x="7102" y="2474"/>
                </a:cubicBezTo>
                <a:cubicBezTo>
                  <a:pt x="7129" y="2436"/>
                  <a:pt x="7154" y="2395"/>
                  <a:pt x="7181" y="2350"/>
                </a:cubicBezTo>
                <a:cubicBezTo>
                  <a:pt x="6570" y="1534"/>
                  <a:pt x="5861" y="853"/>
                  <a:pt x="4942" y="4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060512" y="3496004"/>
            <a:ext cx="6096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From faces to feelings, allow your </a:t>
            </a:r>
            <a:b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pps to understand images and video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244587" y="4682707"/>
            <a:ext cx="5727851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Computer Vision | Emotion | Face | Video</a:t>
            </a:r>
          </a:p>
        </p:txBody>
      </p:sp>
    </p:spTree>
    <p:extLst>
      <p:ext uri="{BB962C8B-B14F-4D97-AF65-F5344CB8AC3E}">
        <p14:creationId xmlns:p14="http://schemas.microsoft.com/office/powerpoint/2010/main" val="261185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" t="1414" r="1776" b="547"/>
          <a:stretch/>
        </p:blipFill>
        <p:spPr>
          <a:xfrm>
            <a:off x="269068" y="1489244"/>
            <a:ext cx="5660843" cy="4895183"/>
          </a:xfrm>
          <a:prstGeom prst="rect">
            <a:avLst/>
          </a:prstGeom>
        </p:spPr>
      </p:pic>
      <p:sp>
        <p:nvSpPr>
          <p:cNvPr id="10" name="Title 7"/>
          <p:cNvSpPr txBox="1">
            <a:spLocks/>
          </p:cNvSpPr>
          <p:nvPr/>
        </p:nvSpPr>
        <p:spPr>
          <a:xfrm>
            <a:off x="1334943" y="-724625"/>
            <a:ext cx="10583628" cy="916730"/>
          </a:xfrm>
          <a:prstGeom prst="rect">
            <a:avLst/>
          </a:prstGeom>
        </p:spPr>
        <p:txBody>
          <a:bodyPr vert="horz" wrap="square" lIns="146170" tIns="91356" rIns="146170" bIns="91356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19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289" b="0" i="0" u="none" strike="noStrike" kern="1200" cap="none" spc="-102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5925480" y="1336638"/>
            <a:ext cx="3467916" cy="1551874"/>
            <a:chOff x="6048152" y="1361581"/>
            <a:chExt cx="3539712" cy="1584002"/>
          </a:xfrm>
        </p:grpSpPr>
        <p:sp>
          <p:nvSpPr>
            <p:cNvPr id="14" name="TextBox 13"/>
            <p:cNvSpPr txBox="1"/>
            <p:nvPr/>
          </p:nvSpPr>
          <p:spPr>
            <a:xfrm>
              <a:off x="6048152" y="1889993"/>
              <a:ext cx="3539712" cy="1055590"/>
            </a:xfrm>
            <a:prstGeom prst="rect">
              <a:avLst/>
            </a:prstGeom>
            <a:noFill/>
          </p:spPr>
          <p:txBody>
            <a:bodyPr wrap="non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Image Format	     jpeg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Image Dimensions	     1500 x 1155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Black &amp; White Image       False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048153" y="1361581"/>
              <a:ext cx="2867244" cy="600164"/>
            </a:xfrm>
            <a:prstGeom prst="rect">
              <a:avLst/>
            </a:prstGeom>
          </p:spPr>
          <p:txBody>
            <a:bodyPr wrap="square" lIns="143336" rIns="0">
              <a:no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Type of image</a:t>
              </a:r>
            </a:p>
          </p:txBody>
        </p:sp>
      </p:grpSp>
      <p:cxnSp>
        <p:nvCxnSpPr>
          <p:cNvPr id="12" name="Straight Connector 11"/>
          <p:cNvCxnSpPr/>
          <p:nvPr/>
        </p:nvCxnSpPr>
        <p:spPr>
          <a:xfrm>
            <a:off x="6092343" y="1915296"/>
            <a:ext cx="6119397" cy="0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5912786" y="2844323"/>
            <a:ext cx="6343703" cy="2225060"/>
            <a:chOff x="6035198" y="2900480"/>
            <a:chExt cx="6475038" cy="2271126"/>
          </a:xfrm>
        </p:grpSpPr>
        <p:sp>
          <p:nvSpPr>
            <p:cNvPr id="18" name="TextBox 17"/>
            <p:cNvSpPr txBox="1"/>
            <p:nvPr/>
          </p:nvSpPr>
          <p:spPr>
            <a:xfrm>
              <a:off x="6035198" y="3421223"/>
              <a:ext cx="6475038" cy="1750383"/>
            </a:xfrm>
            <a:prstGeom prst="rect">
              <a:avLst/>
            </a:prstGeom>
            <a:noFill/>
          </p:spPr>
          <p:txBody>
            <a:bodyPr wrap="non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Description	“a man swimming in a pool of water”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Categories</a:t>
              </a: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		</a:t>
              </a: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[{ “name”: “</a:t>
              </a:r>
              <a:r>
                <a:rPr kumimoji="0" lang="en-US" sz="104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people_swimming</a:t>
              </a: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”, “score”: 0.099609375 }]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dult Content	False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dult Score	0.18533889949321747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Faces</a:t>
              </a: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		</a:t>
              </a: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[{ “age”: 27, “gender”: “Male”, “</a:t>
              </a:r>
              <a:r>
                <a:rPr kumimoji="0" lang="en-US" sz="104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faceRectangle</a:t>
              </a: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”: </a:t>
              </a:r>
              <a:b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</a:b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onsolas" panose="020B0609020204030204" pitchFamily="49" charset="0"/>
                  <a:cs typeface="Consolas" panose="020B0609020204030204" pitchFamily="49" charset="0"/>
                </a:rPr>
                <a:t>		{“left”: 472, “top”: 258, “width”: 199, “height”: 199}}]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057941" y="2900480"/>
              <a:ext cx="4275103" cy="600164"/>
            </a:xfrm>
            <a:prstGeom prst="rect">
              <a:avLst/>
            </a:prstGeom>
          </p:spPr>
          <p:txBody>
            <a:bodyPr wrap="square" lIns="143336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Content of image</a:t>
              </a:r>
            </a:p>
          </p:txBody>
        </p:sp>
      </p:grpSp>
      <p:cxnSp>
        <p:nvCxnSpPr>
          <p:cNvPr id="16" name="Straight Connector 15"/>
          <p:cNvCxnSpPr/>
          <p:nvPr/>
        </p:nvCxnSpPr>
        <p:spPr>
          <a:xfrm>
            <a:off x="6082836" y="3428739"/>
            <a:ext cx="6109165" cy="0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071427" y="5491934"/>
            <a:ext cx="6140313" cy="0"/>
          </a:xfrm>
          <a:prstGeom prst="line">
            <a:avLst/>
          </a:prstGeom>
          <a:ln w="3175" cap="rnd">
            <a:solidFill>
              <a:schemeClr val="bg1">
                <a:alpha val="50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/>
          <p:cNvGrpSpPr/>
          <p:nvPr/>
        </p:nvGrpSpPr>
        <p:grpSpPr>
          <a:xfrm>
            <a:off x="5912787" y="4916848"/>
            <a:ext cx="3627575" cy="1824520"/>
            <a:chOff x="6035198" y="4827511"/>
            <a:chExt cx="3702677" cy="1862293"/>
          </a:xfrm>
        </p:grpSpPr>
        <p:sp>
          <p:nvSpPr>
            <p:cNvPr id="21" name="Rectangle 20"/>
            <p:cNvSpPr/>
            <p:nvPr/>
          </p:nvSpPr>
          <p:spPr>
            <a:xfrm>
              <a:off x="6086514" y="4827511"/>
              <a:ext cx="2971347" cy="600164"/>
            </a:xfrm>
            <a:prstGeom prst="rect">
              <a:avLst/>
            </a:prstGeom>
          </p:spPr>
          <p:txBody>
            <a:bodyPr wrap="square" lIns="143336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3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</a:rPr>
                <a:t>Image color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035198" y="5347226"/>
              <a:ext cx="3702677" cy="1342578"/>
            </a:xfrm>
            <a:prstGeom prst="rect">
              <a:avLst/>
            </a:prstGeom>
            <a:noFill/>
          </p:spPr>
          <p:txBody>
            <a:bodyPr wrap="none" lIns="182711" tIns="146170" rIns="182711" bIns="146170" rtlCol="0">
              <a:spAutoFit/>
            </a:bodyPr>
            <a:lstStyle/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Dominant Color Background	White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Dominant Color Foreground	Grey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Dominant Colors		White</a:t>
              </a:r>
            </a:p>
            <a:p>
              <a:pPr marL="0" marR="0" lvl="0" indent="0" defTabSz="91349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ccent Color</a:t>
              </a:r>
              <a:r>
                <a:rPr kumimoji="0" lang="en-US" sz="156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		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18307" y="481544"/>
            <a:ext cx="676624" cy="486614"/>
            <a:chOff x="680411" y="4859021"/>
            <a:chExt cx="562246" cy="404355"/>
          </a:xfrm>
        </p:grpSpPr>
        <p:sp>
          <p:nvSpPr>
            <p:cNvPr id="25" name="Oval 5"/>
            <p:cNvSpPr>
              <a:spLocks noChangeArrowheads="1"/>
            </p:cNvSpPr>
            <p:nvPr/>
          </p:nvSpPr>
          <p:spPr bwMode="auto">
            <a:xfrm>
              <a:off x="860708" y="4939192"/>
              <a:ext cx="126733" cy="12498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686423" y="5037217"/>
              <a:ext cx="364384" cy="214606"/>
            </a:xfrm>
            <a:custGeom>
              <a:avLst/>
              <a:gdLst>
                <a:gd name="T0" fmla="*/ 515 w 515"/>
                <a:gd name="T1" fmla="*/ 294 h 297"/>
                <a:gd name="T2" fmla="*/ 388 w 515"/>
                <a:gd name="T3" fmla="*/ 137 h 297"/>
                <a:gd name="T4" fmla="*/ 386 w 515"/>
                <a:gd name="T5" fmla="*/ 137 h 297"/>
                <a:gd name="T6" fmla="*/ 383 w 515"/>
                <a:gd name="T7" fmla="*/ 137 h 297"/>
                <a:gd name="T8" fmla="*/ 306 w 515"/>
                <a:gd name="T9" fmla="*/ 198 h 297"/>
                <a:gd name="T10" fmla="*/ 168 w 515"/>
                <a:gd name="T11" fmla="*/ 30 h 297"/>
                <a:gd name="T12" fmla="*/ 146 w 515"/>
                <a:gd name="T13" fmla="*/ 2 h 297"/>
                <a:gd name="T14" fmla="*/ 142 w 515"/>
                <a:gd name="T15" fmla="*/ 2 h 297"/>
                <a:gd name="T16" fmla="*/ 50 w 515"/>
                <a:gd name="T17" fmla="*/ 189 h 297"/>
                <a:gd name="T18" fmla="*/ 0 w 515"/>
                <a:gd name="T19" fmla="*/ 294 h 297"/>
                <a:gd name="T20" fmla="*/ 0 w 515"/>
                <a:gd name="T21" fmla="*/ 295 h 297"/>
                <a:gd name="T22" fmla="*/ 1 w 515"/>
                <a:gd name="T23" fmla="*/ 297 h 297"/>
                <a:gd name="T24" fmla="*/ 3 w 515"/>
                <a:gd name="T25" fmla="*/ 297 h 297"/>
                <a:gd name="T26" fmla="*/ 168 w 515"/>
                <a:gd name="T27" fmla="*/ 297 h 297"/>
                <a:gd name="T28" fmla="*/ 440 w 515"/>
                <a:gd name="T29" fmla="*/ 297 h 297"/>
                <a:gd name="T30" fmla="*/ 513 w 515"/>
                <a:gd name="T31" fmla="*/ 297 h 297"/>
                <a:gd name="T32" fmla="*/ 515 w 515"/>
                <a:gd name="T33" fmla="*/ 29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5" h="297">
                  <a:moveTo>
                    <a:pt x="515" y="294"/>
                  </a:moveTo>
                  <a:cubicBezTo>
                    <a:pt x="471" y="242"/>
                    <a:pt x="430" y="189"/>
                    <a:pt x="388" y="137"/>
                  </a:cubicBezTo>
                  <a:cubicBezTo>
                    <a:pt x="386" y="137"/>
                    <a:pt x="386" y="137"/>
                    <a:pt x="386" y="137"/>
                  </a:cubicBezTo>
                  <a:cubicBezTo>
                    <a:pt x="386" y="136"/>
                    <a:pt x="384" y="136"/>
                    <a:pt x="383" y="137"/>
                  </a:cubicBezTo>
                  <a:cubicBezTo>
                    <a:pt x="358" y="156"/>
                    <a:pt x="332" y="177"/>
                    <a:pt x="306" y="198"/>
                  </a:cubicBezTo>
                  <a:cubicBezTo>
                    <a:pt x="261" y="143"/>
                    <a:pt x="215" y="87"/>
                    <a:pt x="168" y="30"/>
                  </a:cubicBezTo>
                  <a:cubicBezTo>
                    <a:pt x="161" y="21"/>
                    <a:pt x="155" y="11"/>
                    <a:pt x="146" y="2"/>
                  </a:cubicBezTo>
                  <a:cubicBezTo>
                    <a:pt x="146" y="0"/>
                    <a:pt x="144" y="0"/>
                    <a:pt x="142" y="2"/>
                  </a:cubicBezTo>
                  <a:cubicBezTo>
                    <a:pt x="113" y="64"/>
                    <a:pt x="81" y="127"/>
                    <a:pt x="50" y="189"/>
                  </a:cubicBezTo>
                  <a:cubicBezTo>
                    <a:pt x="34" y="224"/>
                    <a:pt x="17" y="259"/>
                    <a:pt x="0" y="294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297"/>
                    <a:pt x="0" y="297"/>
                    <a:pt x="1" y="297"/>
                  </a:cubicBezTo>
                  <a:cubicBezTo>
                    <a:pt x="1" y="297"/>
                    <a:pt x="1" y="297"/>
                    <a:pt x="3" y="297"/>
                  </a:cubicBezTo>
                  <a:cubicBezTo>
                    <a:pt x="57" y="297"/>
                    <a:pt x="113" y="297"/>
                    <a:pt x="168" y="297"/>
                  </a:cubicBezTo>
                  <a:cubicBezTo>
                    <a:pt x="259" y="297"/>
                    <a:pt x="350" y="297"/>
                    <a:pt x="440" y="297"/>
                  </a:cubicBezTo>
                  <a:cubicBezTo>
                    <a:pt x="464" y="297"/>
                    <a:pt x="489" y="297"/>
                    <a:pt x="513" y="297"/>
                  </a:cubicBezTo>
                  <a:cubicBezTo>
                    <a:pt x="515" y="297"/>
                    <a:pt x="515" y="295"/>
                    <a:pt x="515" y="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7"/>
            <p:cNvSpPr>
              <a:spLocks noEditPoints="1"/>
            </p:cNvSpPr>
            <p:nvPr/>
          </p:nvSpPr>
          <p:spPr bwMode="auto">
            <a:xfrm>
              <a:off x="680411" y="4859021"/>
              <a:ext cx="406455" cy="400154"/>
            </a:xfrm>
            <a:custGeom>
              <a:avLst/>
              <a:gdLst>
                <a:gd name="T0" fmla="*/ 1161 w 1161"/>
                <a:gd name="T1" fmla="*/ 1143 h 1143"/>
                <a:gd name="T2" fmla="*/ 0 w 1161"/>
                <a:gd name="T3" fmla="*/ 1143 h 1143"/>
                <a:gd name="T4" fmla="*/ 0 w 1161"/>
                <a:gd name="T5" fmla="*/ 0 h 1143"/>
                <a:gd name="T6" fmla="*/ 1161 w 1161"/>
                <a:gd name="T7" fmla="*/ 0 h 1143"/>
                <a:gd name="T8" fmla="*/ 1161 w 1161"/>
                <a:gd name="T9" fmla="*/ 1143 h 1143"/>
                <a:gd name="T10" fmla="*/ 41 w 1161"/>
                <a:gd name="T11" fmla="*/ 1101 h 1143"/>
                <a:gd name="T12" fmla="*/ 1120 w 1161"/>
                <a:gd name="T13" fmla="*/ 1101 h 1143"/>
                <a:gd name="T14" fmla="*/ 1120 w 1161"/>
                <a:gd name="T15" fmla="*/ 41 h 1143"/>
                <a:gd name="T16" fmla="*/ 41 w 1161"/>
                <a:gd name="T17" fmla="*/ 41 h 1143"/>
                <a:gd name="T18" fmla="*/ 41 w 1161"/>
                <a:gd name="T19" fmla="*/ 1101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1" h="1143">
                  <a:moveTo>
                    <a:pt x="1161" y="1143"/>
                  </a:moveTo>
                  <a:lnTo>
                    <a:pt x="0" y="1143"/>
                  </a:lnTo>
                  <a:lnTo>
                    <a:pt x="0" y="0"/>
                  </a:lnTo>
                  <a:lnTo>
                    <a:pt x="1161" y="0"/>
                  </a:lnTo>
                  <a:lnTo>
                    <a:pt x="1161" y="1143"/>
                  </a:lnTo>
                  <a:close/>
                  <a:moveTo>
                    <a:pt x="41" y="1101"/>
                  </a:moveTo>
                  <a:lnTo>
                    <a:pt x="1120" y="1101"/>
                  </a:lnTo>
                  <a:lnTo>
                    <a:pt x="1120" y="41"/>
                  </a:lnTo>
                  <a:lnTo>
                    <a:pt x="41" y="41"/>
                  </a:lnTo>
                  <a:lnTo>
                    <a:pt x="41" y="110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994793" y="5014111"/>
              <a:ext cx="180647" cy="180647"/>
            </a:xfrm>
            <a:custGeom>
              <a:avLst/>
              <a:gdLst>
                <a:gd name="T0" fmla="*/ 125 w 251"/>
                <a:gd name="T1" fmla="*/ 250 h 250"/>
                <a:gd name="T2" fmla="*/ 0 w 251"/>
                <a:gd name="T3" fmla="*/ 125 h 250"/>
                <a:gd name="T4" fmla="*/ 125 w 251"/>
                <a:gd name="T5" fmla="*/ 0 h 250"/>
                <a:gd name="T6" fmla="*/ 251 w 251"/>
                <a:gd name="T7" fmla="*/ 125 h 250"/>
                <a:gd name="T8" fmla="*/ 125 w 251"/>
                <a:gd name="T9" fmla="*/ 250 h 250"/>
                <a:gd name="T10" fmla="*/ 125 w 251"/>
                <a:gd name="T11" fmla="*/ 20 h 250"/>
                <a:gd name="T12" fmla="*/ 20 w 251"/>
                <a:gd name="T13" fmla="*/ 125 h 250"/>
                <a:gd name="T14" fmla="*/ 125 w 251"/>
                <a:gd name="T15" fmla="*/ 230 h 250"/>
                <a:gd name="T16" fmla="*/ 231 w 251"/>
                <a:gd name="T17" fmla="*/ 125 h 250"/>
                <a:gd name="T18" fmla="*/ 125 w 251"/>
                <a:gd name="T19" fmla="*/ 2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1" h="250">
                  <a:moveTo>
                    <a:pt x="125" y="250"/>
                  </a:move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5" y="0"/>
                    <a:pt x="251" y="56"/>
                    <a:pt x="251" y="125"/>
                  </a:cubicBezTo>
                  <a:cubicBezTo>
                    <a:pt x="251" y="194"/>
                    <a:pt x="195" y="250"/>
                    <a:pt x="125" y="250"/>
                  </a:cubicBezTo>
                  <a:close/>
                  <a:moveTo>
                    <a:pt x="125" y="20"/>
                  </a:moveTo>
                  <a:cubicBezTo>
                    <a:pt x="67" y="20"/>
                    <a:pt x="20" y="67"/>
                    <a:pt x="20" y="125"/>
                  </a:cubicBezTo>
                  <a:cubicBezTo>
                    <a:pt x="20" y="183"/>
                    <a:pt x="67" y="230"/>
                    <a:pt x="125" y="230"/>
                  </a:cubicBezTo>
                  <a:cubicBezTo>
                    <a:pt x="184" y="230"/>
                    <a:pt x="231" y="183"/>
                    <a:pt x="231" y="125"/>
                  </a:cubicBezTo>
                  <a:cubicBezTo>
                    <a:pt x="231" y="67"/>
                    <a:pt x="184" y="20"/>
                    <a:pt x="125" y="2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1138680" y="5157999"/>
              <a:ext cx="103977" cy="105377"/>
            </a:xfrm>
            <a:custGeom>
              <a:avLst/>
              <a:gdLst>
                <a:gd name="T0" fmla="*/ 276 w 297"/>
                <a:gd name="T1" fmla="*/ 301 h 301"/>
                <a:gd name="T2" fmla="*/ 0 w 297"/>
                <a:gd name="T3" fmla="*/ 23 h 301"/>
                <a:gd name="T4" fmla="*/ 21 w 297"/>
                <a:gd name="T5" fmla="*/ 0 h 301"/>
                <a:gd name="T6" fmla="*/ 297 w 297"/>
                <a:gd name="T7" fmla="*/ 278 h 301"/>
                <a:gd name="T8" fmla="*/ 276 w 297"/>
                <a:gd name="T9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301">
                  <a:moveTo>
                    <a:pt x="276" y="301"/>
                  </a:moveTo>
                  <a:lnTo>
                    <a:pt x="0" y="23"/>
                  </a:lnTo>
                  <a:lnTo>
                    <a:pt x="21" y="0"/>
                  </a:lnTo>
                  <a:lnTo>
                    <a:pt x="297" y="278"/>
                  </a:lnTo>
                  <a:lnTo>
                    <a:pt x="276" y="30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137268" y="507651"/>
            <a:ext cx="941642" cy="511318"/>
            <a:chOff x="-4859148" y="3104846"/>
            <a:chExt cx="2543854" cy="1381329"/>
          </a:xfrm>
        </p:grpSpPr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4859148" y="3104846"/>
              <a:ext cx="2543854" cy="1381329"/>
            </a:xfrm>
            <a:prstGeom prst="rect">
              <a:avLst/>
            </a:prstGeom>
          </p:spPr>
        </p:pic>
        <p:grpSp>
          <p:nvGrpSpPr>
            <p:cNvPr id="62" name="Group 61"/>
            <p:cNvGrpSpPr/>
            <p:nvPr/>
          </p:nvGrpSpPr>
          <p:grpSpPr>
            <a:xfrm>
              <a:off x="-4127481" y="3334871"/>
              <a:ext cx="1080520" cy="921279"/>
              <a:chOff x="-4127481" y="3334871"/>
              <a:chExt cx="1080520" cy="921279"/>
            </a:xfrm>
          </p:grpSpPr>
          <p:sp>
            <p:nvSpPr>
              <p:cNvPr id="63" name="Oval 62"/>
              <p:cNvSpPr/>
              <p:nvPr/>
            </p:nvSpPr>
            <p:spPr bwMode="auto">
              <a:xfrm>
                <a:off x="-4127481" y="3334871"/>
                <a:ext cx="1080520" cy="921279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64" name="Group 63"/>
              <p:cNvGrpSpPr/>
              <p:nvPr/>
            </p:nvGrpSpPr>
            <p:grpSpPr>
              <a:xfrm>
                <a:off x="-3817631" y="3567193"/>
                <a:ext cx="460821" cy="456634"/>
                <a:chOff x="-4413081" y="5367130"/>
                <a:chExt cx="460821" cy="456634"/>
              </a:xfrm>
              <a:solidFill>
                <a:srgbClr val="D2D2D2"/>
              </a:solidFill>
            </p:grpSpPr>
            <p:sp>
              <p:nvSpPr>
                <p:cNvPr id="65" name="Rectangle 64"/>
                <p:cNvSpPr/>
                <p:nvPr/>
              </p:nvSpPr>
              <p:spPr bwMode="auto">
                <a:xfrm>
                  <a:off x="-4413081" y="5367130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6" name="Rectangle 65"/>
                <p:cNvSpPr/>
                <p:nvPr/>
              </p:nvSpPr>
              <p:spPr bwMode="auto">
                <a:xfrm>
                  <a:off x="-4128915" y="5367130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7" name="Rectangle 66"/>
                <p:cNvSpPr/>
                <p:nvPr/>
              </p:nvSpPr>
              <p:spPr bwMode="auto">
                <a:xfrm>
                  <a:off x="-4128915" y="5647109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Rectangle 67"/>
                <p:cNvSpPr/>
                <p:nvPr/>
              </p:nvSpPr>
              <p:spPr bwMode="auto">
                <a:xfrm>
                  <a:off x="-4413081" y="5647109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1343780" y="291960"/>
            <a:ext cx="10743593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nalyze image </a:t>
            </a:r>
          </a:p>
        </p:txBody>
      </p:sp>
    </p:spTree>
    <p:extLst>
      <p:ext uri="{BB962C8B-B14F-4D97-AF65-F5344CB8AC3E}">
        <p14:creationId xmlns:p14="http://schemas.microsoft.com/office/powerpoint/2010/main" val="28616981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1.85185E-6 L -0.03672 -1.85185E-6 " pathEditMode="relative" rAng="0" ptsTypes="AA">
                                      <p:cBhvr>
                                        <p:cTn id="17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1.85185E-6 L -0.03672 -1.85185E-6 " pathEditMode="relative" rAng="0" ptsTypes="AA">
                                      <p:cBhvr>
                                        <p:cTn id="27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1.11022E-16 L -0.03671 1.11022E-16 " pathEditMode="relative" rAng="0" ptsTypes="AA">
                                      <p:cBhvr>
                                        <p:cTn id="37" dur="5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sp>
        <p:nvSpPr>
          <p:cNvPr id="16" name="1_text"/>
          <p:cNvSpPr/>
          <p:nvPr/>
        </p:nvSpPr>
        <p:spPr>
          <a:xfrm>
            <a:off x="5924130" y="2852358"/>
            <a:ext cx="5513991" cy="2080583"/>
          </a:xfrm>
          <a:prstGeom prst="rect">
            <a:avLst/>
          </a:prstGeom>
        </p:spPr>
        <p:txBody>
          <a:bodyPr wrap="square" lIns="143336">
            <a:spAutoFit/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LIFE IS LIKE</a:t>
            </a:r>
          </a:p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RIDING A BICYCLE</a:t>
            </a:r>
          </a:p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TO KEEP YOUR BALANCE</a:t>
            </a:r>
          </a:p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YOU MUST KEEP MOVING</a:t>
            </a:r>
          </a:p>
        </p:txBody>
      </p:sp>
      <p:sp>
        <p:nvSpPr>
          <p:cNvPr id="15" name="2_text_code"/>
          <p:cNvSpPr/>
          <p:nvPr/>
        </p:nvSpPr>
        <p:spPr>
          <a:xfrm>
            <a:off x="6434431" y="1429322"/>
            <a:ext cx="4025429" cy="52599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JSON: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"language": "</a:t>
            </a: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en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"orientation": "Up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"regions": [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{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"</a:t>
            </a: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boundingBox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": "41,77,918,440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"lines": [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{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"</a:t>
            </a: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boundingBox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": "41,77,723,89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"words": [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{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	"</a:t>
            </a: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boundingBox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": "41,102,225,64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	"text": "LIFE"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}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{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	"</a:t>
            </a: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boundingBox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": "356,89,94,62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	"text": "IS"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}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{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	"</a:t>
            </a: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boundingBox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": "539,77,225,64",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	"text": "LIKE"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						}</a:t>
            </a:r>
          </a:p>
          <a:p>
            <a:pPr marL="0" marR="0" lvl="0" indent="0" defTabSz="913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cs typeface="Consolas" panose="020B0609020204030204" pitchFamily="49" charset="0"/>
              </a:rPr>
              <a:t>. . .</a:t>
            </a:r>
          </a:p>
        </p:txBody>
      </p:sp>
      <p:grpSp>
        <p:nvGrpSpPr>
          <p:cNvPr id="3" name="3_text"/>
          <p:cNvGrpSpPr/>
          <p:nvPr/>
        </p:nvGrpSpPr>
        <p:grpSpPr>
          <a:xfrm>
            <a:off x="5912785" y="1336638"/>
            <a:ext cx="4210672" cy="3645334"/>
            <a:chOff x="6035198" y="1361581"/>
            <a:chExt cx="4297846" cy="3720804"/>
          </a:xfrm>
        </p:grpSpPr>
        <p:grpSp>
          <p:nvGrpSpPr>
            <p:cNvPr id="10" name="Group 9"/>
            <p:cNvGrpSpPr/>
            <p:nvPr/>
          </p:nvGrpSpPr>
          <p:grpSpPr>
            <a:xfrm>
              <a:off x="6048152" y="1361581"/>
              <a:ext cx="4148049" cy="1791536"/>
              <a:chOff x="6048152" y="1361581"/>
              <a:chExt cx="4148049" cy="1791536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6048152" y="1889993"/>
                <a:ext cx="4148049" cy="1263124"/>
              </a:xfrm>
              <a:prstGeom prst="rect">
                <a:avLst/>
              </a:prstGeom>
              <a:noFill/>
            </p:spPr>
            <p:txBody>
              <a:bodyPr wrap="none" lIns="182711" tIns="146170" rIns="182711" bIns="146170" rtlCol="0">
                <a:sp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49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Scanned documents</a:t>
                </a:r>
              </a:p>
              <a:p>
                <a:pPr marL="0" marR="0" lvl="0" indent="0" defTabSz="91349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49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Photos with text</a:t>
                </a:r>
              </a:p>
              <a:p>
                <a:pPr marL="0" marR="0" lvl="0" indent="0" defTabSz="91349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49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Fine grained location information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6048153" y="1361581"/>
                <a:ext cx="2867244" cy="600164"/>
              </a:xfrm>
              <a:prstGeom prst="rect">
                <a:avLst/>
              </a:prstGeom>
            </p:spPr>
            <p:txBody>
              <a:bodyPr wrap="square" lIns="143336" rIns="0">
                <a:no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3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</a:rPr>
                  <a:t>Good at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6035198" y="3298517"/>
              <a:ext cx="4297846" cy="1783868"/>
              <a:chOff x="6035198" y="2900480"/>
              <a:chExt cx="4297846" cy="1783868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6035198" y="3421224"/>
                <a:ext cx="3351223" cy="1263124"/>
              </a:xfrm>
              <a:prstGeom prst="rect">
                <a:avLst/>
              </a:prstGeom>
              <a:noFill/>
            </p:spPr>
            <p:txBody>
              <a:bodyPr wrap="none" lIns="182711" tIns="146170" rIns="182711" bIns="146170" rtlCol="0">
                <a:sp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49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Vehicle license plate</a:t>
                </a:r>
              </a:p>
              <a:p>
                <a:pPr marL="0" marR="0" lvl="0" indent="0" defTabSz="91349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49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Hand-written text</a:t>
                </a:r>
              </a:p>
              <a:p>
                <a:pPr marL="0" marR="0" lvl="0" indent="0" defTabSz="91349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49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Characters with large sizes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6057941" y="2900480"/>
                <a:ext cx="4275103" cy="600164"/>
              </a:xfrm>
              <a:prstGeom prst="rect">
                <a:avLst/>
              </a:prstGeom>
            </p:spPr>
            <p:txBody>
              <a:bodyPr wrap="square" lIns="143336">
                <a:spAutoFit/>
              </a:bodyPr>
              <a:lstStyle/>
              <a:p>
                <a:pPr marL="0" marR="0" lvl="0" indent="0" defTabSz="9134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3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</a:rPr>
                  <a:t>Need to improve</a:t>
                </a:r>
              </a:p>
            </p:txBody>
          </p:sp>
        </p:grpSp>
      </p:grpSp>
      <p:grpSp>
        <p:nvGrpSpPr>
          <p:cNvPr id="4" name="3_lines"/>
          <p:cNvGrpSpPr/>
          <p:nvPr/>
        </p:nvGrpSpPr>
        <p:grpSpPr>
          <a:xfrm>
            <a:off x="6082835" y="1915297"/>
            <a:ext cx="6128905" cy="1903407"/>
            <a:chOff x="6208769" y="1952220"/>
            <a:chExt cx="6255792" cy="1942813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6218473" y="1952220"/>
              <a:ext cx="6246088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6208769" y="3895033"/>
              <a:ext cx="6235644" cy="0"/>
            </a:xfrm>
            <a:prstGeom prst="line">
              <a:avLst/>
            </a:prstGeom>
            <a:ln w="3175" cap="rnd">
              <a:solidFill>
                <a:schemeClr val="bg1">
                  <a:alpha val="50000"/>
                </a:schemeClr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3781" y="291960"/>
            <a:ext cx="10704643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OCR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8" b="19371"/>
          <a:stretch/>
        </p:blipFill>
        <p:spPr>
          <a:xfrm>
            <a:off x="269068" y="1487435"/>
            <a:ext cx="5640209" cy="4896992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137268" y="507651"/>
            <a:ext cx="941642" cy="511318"/>
            <a:chOff x="-4859148" y="3104846"/>
            <a:chExt cx="2543854" cy="1381329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4859148" y="3104846"/>
              <a:ext cx="2543854" cy="1381329"/>
            </a:xfrm>
            <a:prstGeom prst="rect">
              <a:avLst/>
            </a:prstGeom>
          </p:spPr>
        </p:pic>
        <p:grpSp>
          <p:nvGrpSpPr>
            <p:cNvPr id="35" name="Group 34"/>
            <p:cNvGrpSpPr/>
            <p:nvPr/>
          </p:nvGrpSpPr>
          <p:grpSpPr>
            <a:xfrm>
              <a:off x="-4127481" y="3334871"/>
              <a:ext cx="1080520" cy="921279"/>
              <a:chOff x="-4127481" y="3334871"/>
              <a:chExt cx="1080520" cy="921279"/>
            </a:xfrm>
          </p:grpSpPr>
          <p:sp>
            <p:nvSpPr>
              <p:cNvPr id="36" name="Oval 35"/>
              <p:cNvSpPr/>
              <p:nvPr/>
            </p:nvSpPr>
            <p:spPr bwMode="auto">
              <a:xfrm>
                <a:off x="-4127481" y="3334871"/>
                <a:ext cx="1080520" cy="921279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-3817631" y="3567193"/>
                <a:ext cx="460821" cy="456634"/>
                <a:chOff x="-4413081" y="5367130"/>
                <a:chExt cx="460821" cy="456634"/>
              </a:xfrm>
              <a:solidFill>
                <a:srgbClr val="D2D2D2"/>
              </a:solidFill>
            </p:grpSpPr>
            <p:sp>
              <p:nvSpPr>
                <p:cNvPr id="38" name="Rectangle 37"/>
                <p:cNvSpPr/>
                <p:nvPr/>
              </p:nvSpPr>
              <p:spPr bwMode="auto">
                <a:xfrm>
                  <a:off x="-4413081" y="5367130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9" name="Rectangle 38"/>
                <p:cNvSpPr/>
                <p:nvPr/>
              </p:nvSpPr>
              <p:spPr bwMode="auto">
                <a:xfrm>
                  <a:off x="-4128915" y="5367130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0" name="Rectangle 39"/>
                <p:cNvSpPr/>
                <p:nvPr/>
              </p:nvSpPr>
              <p:spPr bwMode="auto">
                <a:xfrm>
                  <a:off x="-4128915" y="5647109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Rectangle 40"/>
                <p:cNvSpPr/>
                <p:nvPr/>
              </p:nvSpPr>
              <p:spPr bwMode="auto">
                <a:xfrm>
                  <a:off x="-4413081" y="5647109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6021653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42915E-7 5.85565E-7 L -0.03676 5.85565E-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42915E-7 5.85565E-7 L -0.03676 5.85565E-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3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42915E-7 5.85565E-7 L -0.03676 5.85565E-7 " pathEditMode="relative" rAng="0" ptsTypes="AA">
                                      <p:cBhvr>
                                        <p:cTn id="37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6" grpId="1"/>
      <p:bldP spid="16" grpId="2"/>
      <p:bldP spid="15" grpId="0" animBg="1"/>
      <p:bldP spid="15" grpId="1" animBg="1"/>
      <p:bldP spid="15" grpId="2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7"/>
          <p:cNvSpPr txBox="1">
            <a:spLocks/>
          </p:cNvSpPr>
          <p:nvPr/>
        </p:nvSpPr>
        <p:spPr>
          <a:xfrm>
            <a:off x="1542487" y="298164"/>
            <a:ext cx="10583628" cy="916730"/>
          </a:xfrm>
          <a:prstGeom prst="rect">
            <a:avLst/>
          </a:prstGeom>
        </p:spPr>
        <p:txBody>
          <a:bodyPr vert="horz" wrap="square" lIns="146170" tIns="91356" rIns="146170" bIns="91356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19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289" b="0" i="0" u="none" strike="noStrike" kern="1200" cap="none" spc="-102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338801" y="1186535"/>
            <a:ext cx="6595116" cy="5438188"/>
            <a:chOff x="5449330" y="1208371"/>
            <a:chExt cx="6731656" cy="5550775"/>
          </a:xfrm>
        </p:grpSpPr>
        <p:sp>
          <p:nvSpPr>
            <p:cNvPr id="11" name="Rectangle 10"/>
            <p:cNvSpPr/>
            <p:nvPr/>
          </p:nvSpPr>
          <p:spPr bwMode="auto">
            <a:xfrm>
              <a:off x="5449330" y="1208371"/>
              <a:ext cx="6731656" cy="5550775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4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5507517" y="1211263"/>
              <a:ext cx="6673469" cy="5522137"/>
              <a:chOff x="5347119" y="1040959"/>
              <a:chExt cx="6833868" cy="5654863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47119" y="1040959"/>
                <a:ext cx="6833868" cy="2838348"/>
              </a:xfrm>
              <a:prstGeom prst="rect">
                <a:avLst/>
              </a:prstGeom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47119" y="3879307"/>
                <a:ext cx="6833868" cy="2816515"/>
              </a:xfrm>
              <a:prstGeom prst="rect">
                <a:avLst/>
              </a:prstGeom>
            </p:spPr>
          </p:pic>
        </p:grpSp>
      </p:grpSp>
      <p:sp>
        <p:nvSpPr>
          <p:cNvPr id="37" name="on"/>
          <p:cNvSpPr/>
          <p:nvPr/>
        </p:nvSpPr>
        <p:spPr>
          <a:xfrm>
            <a:off x="1157194" y="3262155"/>
            <a:ext cx="3745783" cy="587991"/>
          </a:xfrm>
          <a:prstGeom prst="rect">
            <a:avLst/>
          </a:prstGeom>
        </p:spPr>
        <p:txBody>
          <a:bodyPr wrap="square" lIns="143336" rIns="0">
            <a:noAutofit/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Smart cropping </a:t>
            </a:r>
            <a:r>
              <a:rPr kumimoji="0" lang="en-US" sz="3233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on</a:t>
            </a:r>
          </a:p>
        </p:txBody>
      </p:sp>
      <p:sp>
        <p:nvSpPr>
          <p:cNvPr id="38" name="off"/>
          <p:cNvSpPr/>
          <p:nvPr/>
        </p:nvSpPr>
        <p:spPr>
          <a:xfrm>
            <a:off x="1157194" y="3262155"/>
            <a:ext cx="3745783" cy="587991"/>
          </a:xfrm>
          <a:prstGeom prst="rect">
            <a:avLst/>
          </a:prstGeom>
        </p:spPr>
        <p:txBody>
          <a:bodyPr wrap="square" lIns="143336" rIns="0">
            <a:noAutofit/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Smart cropping </a:t>
            </a:r>
            <a:r>
              <a:rPr kumimoji="0" lang="en-US" sz="3233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</a:rPr>
              <a:t>off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3" t="7048"/>
          <a:stretch/>
        </p:blipFill>
        <p:spPr>
          <a:xfrm>
            <a:off x="8894798" y="1457923"/>
            <a:ext cx="2877766" cy="232229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5337"/>
          <a:stretch/>
        </p:blipFill>
        <p:spPr>
          <a:xfrm>
            <a:off x="8894797" y="4152923"/>
            <a:ext cx="2856687" cy="2302844"/>
          </a:xfrm>
          <a:prstGeom prst="rect">
            <a:avLst/>
          </a:prstGeom>
        </p:spPr>
      </p:pic>
      <p:sp>
        <p:nvSpPr>
          <p:cNvPr id="50" name="Freeform 5"/>
          <p:cNvSpPr>
            <a:spLocks/>
          </p:cNvSpPr>
          <p:nvPr/>
        </p:nvSpPr>
        <p:spPr bwMode="auto">
          <a:xfrm>
            <a:off x="-805" y="291958"/>
            <a:ext cx="1487197" cy="909064"/>
          </a:xfrm>
          <a:custGeom>
            <a:avLst/>
            <a:gdLst>
              <a:gd name="T0" fmla="*/ 914 w 1165"/>
              <a:gd name="T1" fmla="*/ 578 h 578"/>
              <a:gd name="T2" fmla="*/ 0 w 1165"/>
              <a:gd name="T3" fmla="*/ 578 h 578"/>
              <a:gd name="T4" fmla="*/ 0 w 1165"/>
              <a:gd name="T5" fmla="*/ 0 h 578"/>
              <a:gd name="T6" fmla="*/ 1165 w 1165"/>
              <a:gd name="T7" fmla="*/ 0 h 578"/>
              <a:gd name="T8" fmla="*/ 914 w 1165"/>
              <a:gd name="T9" fmla="*/ 578 h 578"/>
              <a:gd name="T10" fmla="*/ 914 w 1165"/>
              <a:gd name="T11" fmla="*/ 578 h 578"/>
              <a:gd name="T12" fmla="*/ 914 w 1165"/>
              <a:gd name="T13" fmla="*/ 578 h 578"/>
              <a:gd name="connsiteX0" fmla="*/ 7845 w 10000"/>
              <a:gd name="connsiteY0" fmla="*/ 10000 h 10000"/>
              <a:gd name="connsiteX1" fmla="*/ 0 w 10000"/>
              <a:gd name="connsiteY1" fmla="*/ 10000 h 10000"/>
              <a:gd name="connsiteX2" fmla="*/ 2765 w 10000"/>
              <a:gd name="connsiteY2" fmla="*/ 25 h 10000"/>
              <a:gd name="connsiteX3" fmla="*/ 10000 w 10000"/>
              <a:gd name="connsiteY3" fmla="*/ 0 h 10000"/>
              <a:gd name="connsiteX4" fmla="*/ 7845 w 10000"/>
              <a:gd name="connsiteY4" fmla="*/ 10000 h 10000"/>
              <a:gd name="connsiteX5" fmla="*/ 7845 w 10000"/>
              <a:gd name="connsiteY5" fmla="*/ 10000 h 10000"/>
              <a:gd name="connsiteX6" fmla="*/ 7845 w 10000"/>
              <a:gd name="connsiteY6" fmla="*/ 10000 h 10000"/>
              <a:gd name="connsiteX0" fmla="*/ 5080 w 7235"/>
              <a:gd name="connsiteY0" fmla="*/ 10000 h 10000"/>
              <a:gd name="connsiteX1" fmla="*/ 13 w 7235"/>
              <a:gd name="connsiteY1" fmla="*/ 10000 h 10000"/>
              <a:gd name="connsiteX2" fmla="*/ 0 w 7235"/>
              <a:gd name="connsiteY2" fmla="*/ 25 h 10000"/>
              <a:gd name="connsiteX3" fmla="*/ 7235 w 7235"/>
              <a:gd name="connsiteY3" fmla="*/ 0 h 10000"/>
              <a:gd name="connsiteX4" fmla="*/ 5080 w 7235"/>
              <a:gd name="connsiteY4" fmla="*/ 10000 h 10000"/>
              <a:gd name="connsiteX5" fmla="*/ 5080 w 7235"/>
              <a:gd name="connsiteY5" fmla="*/ 10000 h 10000"/>
              <a:gd name="connsiteX6" fmla="*/ 5080 w 7235"/>
              <a:gd name="connsiteY6" fmla="*/ 10000 h 10000"/>
              <a:gd name="connsiteX0" fmla="*/ 8306 w 11285"/>
              <a:gd name="connsiteY0" fmla="*/ 10000 h 10000"/>
              <a:gd name="connsiteX1" fmla="*/ 1303 w 11285"/>
              <a:gd name="connsiteY1" fmla="*/ 10000 h 10000"/>
              <a:gd name="connsiteX2" fmla="*/ 0 w 11285"/>
              <a:gd name="connsiteY2" fmla="*/ 25 h 10000"/>
              <a:gd name="connsiteX3" fmla="*/ 11285 w 11285"/>
              <a:gd name="connsiteY3" fmla="*/ 0 h 10000"/>
              <a:gd name="connsiteX4" fmla="*/ 8306 w 11285"/>
              <a:gd name="connsiteY4" fmla="*/ 10000 h 10000"/>
              <a:gd name="connsiteX5" fmla="*/ 8306 w 11285"/>
              <a:gd name="connsiteY5" fmla="*/ 10000 h 10000"/>
              <a:gd name="connsiteX6" fmla="*/ 8306 w 11285"/>
              <a:gd name="connsiteY6" fmla="*/ 10000 h 10000"/>
              <a:gd name="connsiteX0" fmla="*/ 8306 w 11285"/>
              <a:gd name="connsiteY0" fmla="*/ 10000 h 10028"/>
              <a:gd name="connsiteX1" fmla="*/ 37 w 11285"/>
              <a:gd name="connsiteY1" fmla="*/ 10028 h 10028"/>
              <a:gd name="connsiteX2" fmla="*/ 0 w 11285"/>
              <a:gd name="connsiteY2" fmla="*/ 25 h 10028"/>
              <a:gd name="connsiteX3" fmla="*/ 11285 w 11285"/>
              <a:gd name="connsiteY3" fmla="*/ 0 h 10028"/>
              <a:gd name="connsiteX4" fmla="*/ 8306 w 11285"/>
              <a:gd name="connsiteY4" fmla="*/ 10000 h 10028"/>
              <a:gd name="connsiteX5" fmla="*/ 8306 w 11285"/>
              <a:gd name="connsiteY5" fmla="*/ 10000 h 10028"/>
              <a:gd name="connsiteX6" fmla="*/ 8306 w 11285"/>
              <a:gd name="connsiteY6" fmla="*/ 10000 h 10028"/>
              <a:gd name="connsiteX0" fmla="*/ 8271 w 11250"/>
              <a:gd name="connsiteY0" fmla="*/ 10000 h 10028"/>
              <a:gd name="connsiteX1" fmla="*/ 2 w 11250"/>
              <a:gd name="connsiteY1" fmla="*/ 10028 h 10028"/>
              <a:gd name="connsiteX2" fmla="*/ 3 w 11250"/>
              <a:gd name="connsiteY2" fmla="*/ 53 h 10028"/>
              <a:gd name="connsiteX3" fmla="*/ 11250 w 11250"/>
              <a:gd name="connsiteY3" fmla="*/ 0 h 10028"/>
              <a:gd name="connsiteX4" fmla="*/ 8271 w 11250"/>
              <a:gd name="connsiteY4" fmla="*/ 10000 h 10028"/>
              <a:gd name="connsiteX5" fmla="*/ 8271 w 11250"/>
              <a:gd name="connsiteY5" fmla="*/ 10000 h 10028"/>
              <a:gd name="connsiteX6" fmla="*/ 8271 w 11250"/>
              <a:gd name="connsiteY6" fmla="*/ 10000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50" h="10028">
                <a:moveTo>
                  <a:pt x="8271" y="10000"/>
                </a:moveTo>
                <a:lnTo>
                  <a:pt x="2" y="10028"/>
                </a:lnTo>
                <a:cubicBezTo>
                  <a:pt x="-4" y="6703"/>
                  <a:pt x="9" y="3378"/>
                  <a:pt x="3" y="53"/>
                </a:cubicBezTo>
                <a:lnTo>
                  <a:pt x="11250" y="0"/>
                </a:lnTo>
                <a:lnTo>
                  <a:pt x="8271" y="10000"/>
                </a:lnTo>
                <a:lnTo>
                  <a:pt x="8271" y="10000"/>
                </a:lnTo>
                <a:lnTo>
                  <a:pt x="8271" y="1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356" tIns="45677" rIns="91356" bIns="4567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4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137268" y="507651"/>
            <a:ext cx="941642" cy="511318"/>
            <a:chOff x="-4859148" y="3104846"/>
            <a:chExt cx="2543854" cy="1381329"/>
          </a:xfrm>
        </p:grpSpPr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4859148" y="3104846"/>
              <a:ext cx="2543854" cy="1381329"/>
            </a:xfrm>
            <a:prstGeom prst="rect">
              <a:avLst/>
            </a:prstGeom>
          </p:spPr>
        </p:pic>
        <p:grpSp>
          <p:nvGrpSpPr>
            <p:cNvPr id="53" name="Group 52"/>
            <p:cNvGrpSpPr/>
            <p:nvPr/>
          </p:nvGrpSpPr>
          <p:grpSpPr>
            <a:xfrm>
              <a:off x="-4127481" y="3334871"/>
              <a:ext cx="1080520" cy="921279"/>
              <a:chOff x="-4127481" y="3334871"/>
              <a:chExt cx="1080520" cy="921279"/>
            </a:xfrm>
          </p:grpSpPr>
          <p:sp>
            <p:nvSpPr>
              <p:cNvPr id="54" name="Oval 53"/>
              <p:cNvSpPr/>
              <p:nvPr/>
            </p:nvSpPr>
            <p:spPr bwMode="auto">
              <a:xfrm>
                <a:off x="-4127481" y="3334871"/>
                <a:ext cx="1080520" cy="921279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43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1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-3817631" y="3567193"/>
                <a:ext cx="460821" cy="456634"/>
                <a:chOff x="-4413081" y="5367130"/>
                <a:chExt cx="460821" cy="456634"/>
              </a:xfrm>
              <a:solidFill>
                <a:srgbClr val="D2D2D2"/>
              </a:solidFill>
            </p:grpSpPr>
            <p:sp>
              <p:nvSpPr>
                <p:cNvPr id="56" name="Rectangle 55"/>
                <p:cNvSpPr/>
                <p:nvPr/>
              </p:nvSpPr>
              <p:spPr bwMode="auto">
                <a:xfrm>
                  <a:off x="-4413081" y="5367130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7" name="Rectangle 56"/>
                <p:cNvSpPr/>
                <p:nvPr/>
              </p:nvSpPr>
              <p:spPr bwMode="auto">
                <a:xfrm>
                  <a:off x="-4128915" y="5367130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8" name="Rectangle 57"/>
                <p:cNvSpPr/>
                <p:nvPr/>
              </p:nvSpPr>
              <p:spPr bwMode="auto">
                <a:xfrm>
                  <a:off x="-4128915" y="5647109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9" name="Rectangle 58"/>
                <p:cNvSpPr/>
                <p:nvPr/>
              </p:nvSpPr>
              <p:spPr bwMode="auto">
                <a:xfrm>
                  <a:off x="-4413081" y="5647109"/>
                  <a:ext cx="176655" cy="176655"/>
                </a:xfrm>
                <a:prstGeom prst="rect">
                  <a:avLst/>
                </a:prstGeom>
                <a:solidFill>
                  <a:srgbClr val="000000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1343780" y="328776"/>
            <a:ext cx="10590138" cy="898964"/>
          </a:xfrm>
        </p:spPr>
        <p:txBody>
          <a:bodyPr/>
          <a:lstStyle/>
          <a:p>
            <a:r>
              <a:rPr lang="en-US" sz="5682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Smart thumbnail </a:t>
            </a:r>
          </a:p>
        </p:txBody>
      </p:sp>
    </p:spTree>
    <p:extLst>
      <p:ext uri="{BB962C8B-B14F-4D97-AF65-F5344CB8AC3E}">
        <p14:creationId xmlns:p14="http://schemas.microsoft.com/office/powerpoint/2010/main" val="720269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>
          <a:xfrm>
            <a:off x="564776" y="1692503"/>
            <a:ext cx="11087474" cy="11588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29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0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Vision Demo</a:t>
            </a:r>
          </a:p>
        </p:txBody>
      </p:sp>
      <p:sp>
        <p:nvSpPr>
          <p:cNvPr id="24" name="Freeform 22"/>
          <p:cNvSpPr>
            <a:spLocks noChangeAspect="1"/>
          </p:cNvSpPr>
          <p:nvPr/>
        </p:nvSpPr>
        <p:spPr bwMode="auto">
          <a:xfrm>
            <a:off x="5777887" y="2765597"/>
            <a:ext cx="661251" cy="437566"/>
          </a:xfrm>
          <a:custGeom>
            <a:avLst/>
            <a:gdLst>
              <a:gd name="T0" fmla="*/ 4942 w 7181"/>
              <a:gd name="T1" fmla="*/ 414 h 4752"/>
              <a:gd name="T2" fmla="*/ 3024 w 7181"/>
              <a:gd name="T3" fmla="*/ 152 h 4752"/>
              <a:gd name="T4" fmla="*/ 0 w 7181"/>
              <a:gd name="T5" fmla="*/ 2353 h 4752"/>
              <a:gd name="T6" fmla="*/ 2201 w 7181"/>
              <a:gd name="T7" fmla="*/ 4282 h 4752"/>
              <a:gd name="T8" fmla="*/ 4848 w 7181"/>
              <a:gd name="T9" fmla="*/ 4351 h 4752"/>
              <a:gd name="T10" fmla="*/ 7102 w 7181"/>
              <a:gd name="T11" fmla="*/ 2474 h 4752"/>
              <a:gd name="T12" fmla="*/ 7181 w 7181"/>
              <a:gd name="T13" fmla="*/ 2350 h 4752"/>
              <a:gd name="T14" fmla="*/ 4942 w 7181"/>
              <a:gd name="T15" fmla="*/ 414 h 4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181" h="4752">
                <a:moveTo>
                  <a:pt x="4942" y="414"/>
                </a:moveTo>
                <a:cubicBezTo>
                  <a:pt x="4333" y="124"/>
                  <a:pt x="3691" y="0"/>
                  <a:pt x="3024" y="152"/>
                </a:cubicBezTo>
                <a:cubicBezTo>
                  <a:pt x="1710" y="456"/>
                  <a:pt x="812" y="1327"/>
                  <a:pt x="0" y="2353"/>
                </a:cubicBezTo>
                <a:cubicBezTo>
                  <a:pt x="608" y="3169"/>
                  <a:pt x="1306" y="3839"/>
                  <a:pt x="2201" y="4282"/>
                </a:cubicBezTo>
                <a:cubicBezTo>
                  <a:pt x="3069" y="4710"/>
                  <a:pt x="3957" y="4752"/>
                  <a:pt x="4848" y="4351"/>
                </a:cubicBezTo>
                <a:cubicBezTo>
                  <a:pt x="5771" y="3932"/>
                  <a:pt x="6490" y="3269"/>
                  <a:pt x="7102" y="2474"/>
                </a:cubicBezTo>
                <a:cubicBezTo>
                  <a:pt x="7129" y="2436"/>
                  <a:pt x="7154" y="2395"/>
                  <a:pt x="7181" y="2350"/>
                </a:cubicBezTo>
                <a:cubicBezTo>
                  <a:pt x="6570" y="1534"/>
                  <a:pt x="5861" y="853"/>
                  <a:pt x="4942" y="4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060512" y="3496004"/>
            <a:ext cx="6096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From faces to feelings, allow your </a:t>
            </a:r>
            <a:b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</a:b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pps to understand images and video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244587" y="4682707"/>
            <a:ext cx="5727851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Computer Vision | Emotion | Face | Video</a:t>
            </a:r>
          </a:p>
        </p:txBody>
      </p:sp>
      <p:sp>
        <p:nvSpPr>
          <p:cNvPr id="2" name="矩形 1"/>
          <p:cNvSpPr/>
          <p:nvPr/>
        </p:nvSpPr>
        <p:spPr>
          <a:xfrm>
            <a:off x="2423592" y="5805264"/>
            <a:ext cx="77810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dirty="0">
                <a:solidFill>
                  <a:schemeClr val="bg1"/>
                </a:solidFill>
                <a:hlinkClick r:id="rId3"/>
              </a:rPr>
              <a:t>https://www.microsoft.com/cognitive-services/en-us/computer-vision-api</a:t>
            </a:r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53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14944"/>
          <a:stretch/>
        </p:blipFill>
        <p:spPr>
          <a:xfrm>
            <a:off x="1" y="2673"/>
            <a:ext cx="8824371" cy="687644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94618"/>
          <a:stretch/>
        </p:blipFill>
        <p:spPr>
          <a:xfrm>
            <a:off x="8266008" y="2673"/>
            <a:ext cx="3921241" cy="687644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147972" y="3468509"/>
            <a:ext cx="7763656" cy="2473130"/>
          </a:xfrm>
          <a:prstGeom prst="rect">
            <a:avLst/>
          </a:prstGeom>
          <a:solidFill>
            <a:schemeClr val="accent2">
              <a:alpha val="9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00" rIns="0" bIns="466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172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289519" y="4514601"/>
            <a:ext cx="7902482" cy="1012500"/>
          </a:xfrm>
        </p:spPr>
        <p:txBody>
          <a:bodyPr>
            <a:normAutofit fontScale="90000"/>
          </a:bodyPr>
          <a:lstStyle/>
          <a:p>
            <a:pPr defTabSz="914113">
              <a:spcAft>
                <a:spcPts val="1176"/>
              </a:spcAft>
              <a:defRPr/>
            </a:pPr>
            <a:r>
              <a:rPr lang="en-US" altLang="zh-CN" sz="4115" dirty="0">
                <a:latin typeface="Segoe UI Light" panose="020B0502040204020203" pitchFamily="34" charset="0"/>
                <a:cs typeface="Segoe UI Light" panose="020B0502040204020203" pitchFamily="34" charset="0"/>
              </a:rPr>
              <a:t>Recognize emotions</a:t>
            </a:r>
            <a:br>
              <a:rPr lang="en-US" altLang="zh-CN" sz="2798" dirty="0">
                <a:latin typeface="Segoe UI"/>
              </a:rPr>
            </a:br>
            <a:r>
              <a:rPr lang="en-US" altLang="zh-CN" sz="2351" spc="0" dirty="0">
                <a:latin typeface="+mn-lt"/>
                <a:cs typeface="+mn-cs"/>
              </a:rPr>
              <a:t>Detect emotions based on facial expressions </a:t>
            </a:r>
            <a:br>
              <a:rPr lang="en-US" altLang="zh-CN" sz="2351" spc="0" dirty="0">
                <a:latin typeface="+mn-lt"/>
                <a:cs typeface="+mn-cs"/>
              </a:rPr>
            </a:br>
            <a:r>
              <a:rPr lang="en-US" altLang="zh-CN" sz="2351" spc="0" dirty="0">
                <a:latin typeface="+mn-lt"/>
                <a:cs typeface="+mn-cs"/>
              </a:rPr>
              <a:t>in photos and videos</a:t>
            </a:r>
            <a:endParaRPr lang="zh-CN" altLang="en-US" sz="2351" spc="0" dirty="0">
              <a:latin typeface="+mn-lt"/>
              <a:cs typeface="+mn-cs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118808" y="4093156"/>
            <a:ext cx="10349121" cy="2783495"/>
          </a:xfrm>
          <a:prstGeom prst="rect">
            <a:avLst/>
          </a:prstGeom>
        </p:spPr>
        <p:txBody>
          <a:bodyPr vert="horz" lIns="91356" tIns="45677" rIns="91356" bIns="45677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>
                <a:solidFill>
                  <a:srgbClr val="00A99D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366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798" b="0" i="0" u="none" strike="noStrike" kern="1200" cap="none" spc="0" normalizeH="0" baseline="0" noProof="0" dirty="0">
              <a:ln>
                <a:noFill/>
              </a:ln>
              <a:solidFill>
                <a:srgbClr val="00A99D"/>
              </a:solidFill>
              <a:effectLst/>
              <a:uLnTx/>
              <a:uFillTx/>
              <a:latin typeface="Segoe UI Light" panose="020B0502040204020203" pitchFamily="34" charset="0"/>
              <a:ea typeface="+mj-ea"/>
              <a:cs typeface="Segoe UI Light" panose="020B0502040204020203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148351" y="3107648"/>
            <a:ext cx="11053812" cy="1324342"/>
            <a:chOff x="837193" y="880573"/>
            <a:chExt cx="11062436" cy="1325375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2686369" y="880573"/>
              <a:ext cx="9213260" cy="1325375"/>
            </a:xfrm>
            <a:prstGeom prst="rect">
              <a:avLst/>
            </a:prstGeom>
          </p:spPr>
          <p:txBody>
            <a:bodyPr vert="horz" lIns="91356" tIns="45677" rIns="91356" bIns="45677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3665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28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j-lt"/>
                  <a:ea typeface="+mj-ea"/>
                  <a:cs typeface="+mj-cs"/>
                </a:rPr>
                <a:t>Emotion APIs</a:t>
              </a: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837193" y="1238140"/>
              <a:ext cx="1849176" cy="917445"/>
            </a:xfrm>
            <a:custGeom>
              <a:avLst/>
              <a:gdLst>
                <a:gd name="T0" fmla="*/ 914 w 1165"/>
                <a:gd name="T1" fmla="*/ 578 h 578"/>
                <a:gd name="T2" fmla="*/ 0 w 1165"/>
                <a:gd name="T3" fmla="*/ 578 h 578"/>
                <a:gd name="T4" fmla="*/ 0 w 1165"/>
                <a:gd name="T5" fmla="*/ 0 h 578"/>
                <a:gd name="T6" fmla="*/ 1165 w 1165"/>
                <a:gd name="T7" fmla="*/ 0 h 578"/>
                <a:gd name="T8" fmla="*/ 914 w 1165"/>
                <a:gd name="T9" fmla="*/ 578 h 578"/>
                <a:gd name="T10" fmla="*/ 914 w 1165"/>
                <a:gd name="T11" fmla="*/ 578 h 578"/>
                <a:gd name="T12" fmla="*/ 914 w 1165"/>
                <a:gd name="T13" fmla="*/ 578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5" h="578">
                  <a:moveTo>
                    <a:pt x="914" y="578"/>
                  </a:moveTo>
                  <a:lnTo>
                    <a:pt x="0" y="578"/>
                  </a:lnTo>
                  <a:lnTo>
                    <a:pt x="0" y="0"/>
                  </a:lnTo>
                  <a:lnTo>
                    <a:pt x="1165" y="0"/>
                  </a:lnTo>
                  <a:lnTo>
                    <a:pt x="914" y="578"/>
                  </a:lnTo>
                  <a:lnTo>
                    <a:pt x="914" y="578"/>
                  </a:lnTo>
                  <a:lnTo>
                    <a:pt x="914" y="5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56" tIns="45677" rIns="91356" bIns="456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447062" y="3667641"/>
            <a:ext cx="941642" cy="511318"/>
            <a:chOff x="4476279" y="568462"/>
            <a:chExt cx="961137" cy="521904"/>
          </a:xfrm>
        </p:grpSpPr>
        <p:grpSp>
          <p:nvGrpSpPr>
            <p:cNvPr id="13" name="Group 12"/>
            <p:cNvGrpSpPr/>
            <p:nvPr/>
          </p:nvGrpSpPr>
          <p:grpSpPr>
            <a:xfrm>
              <a:off x="4476279" y="568462"/>
              <a:ext cx="961137" cy="521904"/>
              <a:chOff x="-2418910" y="4474409"/>
              <a:chExt cx="961137" cy="521904"/>
            </a:xfrm>
          </p:grpSpPr>
          <p:grpSp>
            <p:nvGrpSpPr>
              <p:cNvPr id="14" name="Group 13"/>
              <p:cNvGrpSpPr/>
              <p:nvPr/>
            </p:nvGrpSpPr>
            <p:grpSpPr>
              <a:xfrm>
                <a:off x="-2418910" y="4474409"/>
                <a:ext cx="961137" cy="521904"/>
                <a:chOff x="-4859148" y="3104846"/>
                <a:chExt cx="2543854" cy="1381329"/>
              </a:xfrm>
            </p:grpSpPr>
            <p:pic>
              <p:nvPicPr>
                <p:cNvPr id="22" name="Picture 2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4859148" y="3104846"/>
                  <a:ext cx="2543854" cy="1381329"/>
                </a:xfrm>
                <a:prstGeom prst="rect">
                  <a:avLst/>
                </a:prstGeom>
              </p:spPr>
            </p:pic>
            <p:sp>
              <p:nvSpPr>
                <p:cNvPr id="23" name="Oval 22"/>
                <p:cNvSpPr/>
                <p:nvPr/>
              </p:nvSpPr>
              <p:spPr bwMode="auto">
                <a:xfrm>
                  <a:off x="-4127480" y="3334872"/>
                  <a:ext cx="1080521" cy="921278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171" tIns="143336" rIns="179171" bIns="14333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1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-2026243" y="4677184"/>
                <a:ext cx="171471" cy="46547"/>
                <a:chOff x="-2427050" y="2889116"/>
                <a:chExt cx="587730" cy="159543"/>
              </a:xfrm>
            </p:grpSpPr>
            <p:sp>
              <p:nvSpPr>
                <p:cNvPr id="18" name="Oval 17"/>
                <p:cNvSpPr/>
                <p:nvPr/>
              </p:nvSpPr>
              <p:spPr bwMode="auto">
                <a:xfrm>
                  <a:off x="-2427050" y="2889116"/>
                  <a:ext cx="159543" cy="159543"/>
                </a:xfrm>
                <a:prstGeom prst="ellipse">
                  <a:avLst/>
                </a:prstGeom>
                <a:solidFill>
                  <a:srgbClr val="000000"/>
                </a:solidFill>
                <a:ln w="3175"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691" rIns="0" bIns="45691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 bwMode="auto">
                <a:xfrm>
                  <a:off x="-1998863" y="2889116"/>
                  <a:ext cx="159543" cy="159543"/>
                </a:xfrm>
                <a:prstGeom prst="ellipse">
                  <a:avLst/>
                </a:prstGeom>
                <a:solidFill>
                  <a:srgbClr val="000000"/>
                </a:solidFill>
                <a:ln w="3175"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691" rIns="0" bIns="45691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354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5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25" name="Oval 5"/>
            <p:cNvSpPr>
              <a:spLocks noChangeArrowheads="1"/>
            </p:cNvSpPr>
            <p:nvPr/>
          </p:nvSpPr>
          <p:spPr bwMode="auto">
            <a:xfrm>
              <a:off x="4893938" y="847906"/>
              <a:ext cx="125818" cy="108397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txBody>
            <a:bodyPr vert="horz" wrap="square" lIns="89585" tIns="44793" rIns="89585" bIns="447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58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3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329248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9A904E18-C64D-423E-98F6-98F235C9A59A}" vid="{2A6DC852-EC1F-4181-A54A-4623F760BA0F}"/>
    </a:ext>
  </a:extLst>
</a:theme>
</file>

<file path=ppt/theme/theme10.xml><?xml version="1.0" encoding="utf-8"?>
<a:theme xmlns:a="http://schemas.openxmlformats.org/drawingml/2006/main" name="MS Cognitive Services Walking Deck">
  <a:themeElements>
    <a:clrScheme name="Custom 1">
      <a:dk1>
        <a:sysClr val="windowText" lastClr="000000"/>
      </a:dk1>
      <a:lt1>
        <a:sysClr val="window" lastClr="FFFFFF"/>
      </a:lt1>
      <a:dk2>
        <a:srgbClr val="333333"/>
      </a:dk2>
      <a:lt2>
        <a:srgbClr val="FFFFFF"/>
      </a:lt2>
      <a:accent1>
        <a:srgbClr val="00B294"/>
      </a:accent1>
      <a:accent2>
        <a:srgbClr val="004B50"/>
      </a:accent2>
      <a:accent3>
        <a:srgbClr val="B4009E"/>
      </a:accent3>
      <a:accent4>
        <a:srgbClr val="FFB900"/>
      </a:accent4>
      <a:accent5>
        <a:srgbClr val="FF8C00"/>
      </a:accent5>
      <a:accent6>
        <a:srgbClr val="505050"/>
      </a:accent6>
      <a:hlink>
        <a:srgbClr val="FFFFFF"/>
      </a:hlink>
      <a:folHlink>
        <a:srgbClr val="139882"/>
      </a:folHlink>
    </a:clrScheme>
    <a:fontScheme name="Microsoft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12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13.xml><?xml version="1.0" encoding="utf-8"?>
<a:theme xmlns:a="http://schemas.openxmlformats.org/drawingml/2006/main" name="5-30721_Build_2016_Template_Dark">
  <a:themeElements>
    <a:clrScheme name="Build 2016 Dark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BCF2"/>
      </a:accent1>
      <a:accent2>
        <a:srgbClr val="0078D7"/>
      </a:accent2>
      <a:accent3>
        <a:srgbClr val="002050"/>
      </a:accent3>
      <a:accent4>
        <a:srgbClr val="D2D2D2"/>
      </a:accent4>
      <a:accent5>
        <a:srgbClr val="737373"/>
      </a:accent5>
      <a:accent6>
        <a:srgbClr val="323232"/>
      </a:accent6>
      <a:hlink>
        <a:srgbClr val="5DDCFF"/>
      </a:hlink>
      <a:folHlink>
        <a:srgbClr val="5DDCFF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EE767E89-5D4D-44CA-8070-C9EE1D87F83B}"/>
    </a:ext>
  </a:extLst>
</a:theme>
</file>

<file path=ppt/theme/theme14.xml><?xml version="1.0" encoding="utf-8"?>
<a:theme xmlns:a="http://schemas.openxmlformats.org/drawingml/2006/main" name="Azure IoT Hub">
  <a:themeElements>
    <a:clrScheme name="Bharat Blue">
      <a:dk1>
        <a:sysClr val="windowText" lastClr="000000"/>
      </a:dk1>
      <a:lt1>
        <a:sysClr val="window" lastClr="FFFFFF"/>
      </a:lt1>
      <a:dk2>
        <a:srgbClr val="00162E"/>
      </a:dk2>
      <a:lt2>
        <a:srgbClr val="F8F8F8"/>
      </a:lt2>
      <a:accent1>
        <a:srgbClr val="002050"/>
      </a:accent1>
      <a:accent2>
        <a:srgbClr val="00188F"/>
      </a:accent2>
      <a:accent3>
        <a:srgbClr val="0070C0"/>
      </a:accent3>
      <a:accent4>
        <a:srgbClr val="00BCF2"/>
      </a:accent4>
      <a:accent5>
        <a:srgbClr val="B4A0FF"/>
      </a:accent5>
      <a:accent6>
        <a:srgbClr val="B9D80A"/>
      </a:accent6>
      <a:hlink>
        <a:srgbClr val="00B294"/>
      </a:hlink>
      <a:folHlink>
        <a:srgbClr val="B4A0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17">
                  <a:schemeClr val="accent6"/>
                </a:gs>
                <a:gs pos="100000">
                  <a:schemeClr val="accent6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IoT Hub" id="{CF9C84B7-65A7-405C-A203-BCA17A4FAA1D}" vid="{D854B8CE-DC4C-4909-8B0F-FC03372437A5}"/>
    </a:ext>
  </a:extLst>
</a:theme>
</file>

<file path=ppt/theme/theme15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Y13 EPG Presentation Template_External_16x9_Light">
  <a:themeElements>
    <a:clrScheme name="FY14 EPG colors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00188F"/>
      </a:accent2>
      <a:accent3>
        <a:srgbClr val="68217A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4 EPG Presentation Template_External_16x9_Light_091913" id="{07B9788B-C8FD-4405-A4D6-F102CB2D5616}" vid="{316108AE-0133-4116-B21D-8E89F386F954}"/>
    </a:ext>
  </a:extLst>
</a:theme>
</file>

<file path=ppt/theme/theme3.xml><?xml version="1.0" encoding="utf-8"?>
<a:theme xmlns:a="http://schemas.openxmlformats.org/drawingml/2006/main" name="20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S_DE_Presentation Template_16x9_Light" id="{1C5A014F-CE71-4894-848B-DF418114CB37}" vid="{C23321E9-612D-4B1A-9531-EB08610DB2A7}"/>
    </a:ext>
  </a:extLst>
</a:theme>
</file>

<file path=ppt/theme/theme4.xml><?xml version="1.0" encoding="utf-8"?>
<a:theme xmlns:a="http://schemas.openxmlformats.org/drawingml/2006/main" name="6_3-30680_Worldwide Partner Conference 2015 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17">
                  <a:schemeClr val="accent6"/>
                </a:gs>
                <a:gs pos="100000">
                  <a:schemeClr val="accent6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PC PPT Template.potx [Read-Only]" id="{2DAB7967-F155-46BE-B499-90ABA5E79154}" vid="{949AF01E-4EB6-46D9-AE8A-F3C8D5B39BC9}"/>
    </a:ext>
  </a:extLst>
</a:theme>
</file>

<file path=ppt/theme/theme5.xml><?xml version="1.0" encoding="utf-8"?>
<a:theme xmlns:a="http://schemas.openxmlformats.org/drawingml/2006/main" name="1_Theme1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9A904E18-C64D-423E-98F6-98F235C9A59A}" vid="{2A6DC852-EC1F-4181-A54A-4623F760BA0F}"/>
    </a:ext>
  </a:extLst>
</a:theme>
</file>

<file path=ppt/theme/theme6.xml><?xml version="1.0" encoding="utf-8"?>
<a:theme xmlns:a="http://schemas.openxmlformats.org/drawingml/2006/main" name="2_Theme1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9A904E18-C64D-423E-98F6-98F235C9A59A}" vid="{2A6DC852-EC1F-4181-A54A-4623F760BA0F}"/>
    </a:ext>
  </a:extLst>
</a:theme>
</file>

<file path=ppt/theme/theme7.xml><?xml version="1.0" encoding="utf-8"?>
<a:theme xmlns:a="http://schemas.openxmlformats.org/drawingml/2006/main" name="11_3-30680_Worldwide Partner Conference 2015 ">
  <a:themeElements>
    <a:clrScheme name="Custom 2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FF8C00"/>
      </a:accent1>
      <a:accent2>
        <a:srgbClr val="004B50"/>
      </a:accent2>
      <a:accent3>
        <a:srgbClr val="008272"/>
      </a:accent3>
      <a:accent4>
        <a:srgbClr val="505050"/>
      </a:accent4>
      <a:accent5>
        <a:srgbClr val="737373"/>
      </a:accent5>
      <a:accent6>
        <a:srgbClr val="000000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17">
                  <a:schemeClr val="accent6"/>
                </a:gs>
                <a:gs pos="100000">
                  <a:schemeClr val="accent6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PC PPT Template.potx [Read-Only]" id="{2DAB7967-F155-46BE-B499-90ABA5E79154}" vid="{949AF01E-4EB6-46D9-AE8A-F3C8D5B39BC9}"/>
    </a:ext>
  </a:extLst>
</a:theme>
</file>

<file path=ppt/theme/theme8.xml><?xml version="1.0" encoding="utf-8"?>
<a:theme xmlns:a="http://schemas.openxmlformats.org/drawingml/2006/main" name="White_Slides">
  <a:themeElements>
    <a:clrScheme name="CityNext FY15">
      <a:dk1>
        <a:srgbClr val="002050"/>
      </a:dk1>
      <a:lt1>
        <a:srgbClr val="00BCF2"/>
      </a:lt1>
      <a:dk2>
        <a:srgbClr val="009E49"/>
      </a:dk2>
      <a:lt2>
        <a:srgbClr val="FFFFFF"/>
      </a:lt2>
      <a:accent1>
        <a:srgbClr val="B4009E"/>
      </a:accent1>
      <a:accent2>
        <a:srgbClr val="68217A"/>
      </a:accent2>
      <a:accent3>
        <a:srgbClr val="4668C5"/>
      </a:accent3>
      <a:accent4>
        <a:srgbClr val="007233"/>
      </a:accent4>
      <a:accent5>
        <a:srgbClr val="008272"/>
      </a:accent5>
      <a:accent6>
        <a:srgbClr val="00D8CC"/>
      </a:accent6>
      <a:hlink>
        <a:srgbClr val="4668C5"/>
      </a:hlink>
      <a:folHlink>
        <a:srgbClr val="002050"/>
      </a:folHlink>
    </a:clrScheme>
    <a:fontScheme name="CityNext 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solidFill>
          <a:schemeClr val="bg2">
            <a:alpha val="85000"/>
          </a:schemeClr>
        </a:solidFill>
      </a:spPr>
      <a:bodyPr vert="horz" lIns="274320" tIns="182880" rIns="91440" bIns="45720" rtlCol="0">
        <a:normAutofit/>
      </a:bodyPr>
      <a:lstStyle>
        <a:defPPr>
          <a:defRPr sz="2500" dirty="0">
            <a:solidFill>
              <a:schemeClr val="tx1"/>
            </a:solidFill>
            <a:latin typeface="+mj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Theme1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9A904E18-C64D-423E-98F6-98F235C9A59A}" vid="{2A6DC852-EC1F-4181-A54A-4623F760BA0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75BEF4C423C247B83248626F82C0C0" ma:contentTypeVersion="2" ma:contentTypeDescription="Create a new document." ma:contentTypeScope="" ma:versionID="e44d8aebcba3b21922b9c4b43bb387f2">
  <xsd:schema xmlns:xsd="http://www.w3.org/2001/XMLSchema" xmlns:xs="http://www.w3.org/2001/XMLSchema" xmlns:p="http://schemas.microsoft.com/office/2006/metadata/properties" xmlns:ns2="e9f325e2-9a0d-40c0-911f-b75d0867ef13" targetNamespace="http://schemas.microsoft.com/office/2006/metadata/properties" ma:root="true" ma:fieldsID="c0306a828aff7183b2ef94f7aaf92208" ns2:_="">
    <xsd:import namespace="e9f325e2-9a0d-40c0-911f-b75d0867ef1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f325e2-9a0d-40c0-911f-b75d0867ef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9C5F74D-C977-4755-9217-4020D3384C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f325e2-9a0d-40c0-911f-b75d0867ef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43BE74-D2F6-4CA7-AE14-C24378819E86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e9f325e2-9a0d-40c0-911f-b75d0867ef13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997788-F1C9-4955-A8AA-66E7075D56B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9087</TotalTime>
  <Words>1425</Words>
  <Application>Microsoft Office PowerPoint</Application>
  <PresentationFormat>Widescreen</PresentationFormat>
  <Paragraphs>318</Paragraphs>
  <Slides>28</Slides>
  <Notes>26</Notes>
  <HiddenSlides>0</HiddenSlides>
  <MMClips>1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60" baseType="lpstr">
      <vt:lpstr>MS PGothic</vt:lpstr>
      <vt:lpstr>MS PGothic</vt:lpstr>
      <vt:lpstr>宋体</vt:lpstr>
      <vt:lpstr>Arial</vt:lpstr>
      <vt:lpstr>Calibri</vt:lpstr>
      <vt:lpstr>Consolas</vt:lpstr>
      <vt:lpstr>Courier New</vt:lpstr>
      <vt:lpstr>メイリオ</vt:lpstr>
      <vt:lpstr>新細明體</vt:lpstr>
      <vt:lpstr>Segoe UI</vt:lpstr>
      <vt:lpstr>Segoe UI Light</vt:lpstr>
      <vt:lpstr>Segoe UI Semibold</vt:lpstr>
      <vt:lpstr>Segoe UI Semilight</vt:lpstr>
      <vt:lpstr>Verdana</vt:lpstr>
      <vt:lpstr>Webdings</vt:lpstr>
      <vt:lpstr>wf_segoe-ui_normal</vt:lpstr>
      <vt:lpstr>Wingdings</vt:lpstr>
      <vt:lpstr>Theme1</vt:lpstr>
      <vt:lpstr>FY13 EPG Presentation Template_External_16x9_Light</vt:lpstr>
      <vt:lpstr>20_FY15 Enterprise identity theme</vt:lpstr>
      <vt:lpstr>6_3-30680_Worldwide Partner Conference 2015 </vt:lpstr>
      <vt:lpstr>1_Theme1</vt:lpstr>
      <vt:lpstr>2_Theme1</vt:lpstr>
      <vt:lpstr>11_3-30680_Worldwide Partner Conference 2015 </vt:lpstr>
      <vt:lpstr>White_Slides</vt:lpstr>
      <vt:lpstr>3_Theme1</vt:lpstr>
      <vt:lpstr>MS Cognitive Services Walking Deck</vt:lpstr>
      <vt:lpstr>LIGHT COLOR TEMPLATE</vt:lpstr>
      <vt:lpstr>1_5-30721_Build_2016_Template_Light</vt:lpstr>
      <vt:lpstr>5-30721_Build_2016_Template_Dark</vt:lpstr>
      <vt:lpstr>Azure IoT Hub</vt:lpstr>
      <vt:lpstr>think-cell Slide</vt:lpstr>
      <vt:lpstr>PowerPoint Presentation</vt:lpstr>
      <vt:lpstr>Microsoft Cognitive Services</vt:lpstr>
      <vt:lpstr>Why Microsoft  Cognitive Services?</vt:lpstr>
      <vt:lpstr>PowerPoint Presentation</vt:lpstr>
      <vt:lpstr>Analyze image </vt:lpstr>
      <vt:lpstr>OCR</vt:lpstr>
      <vt:lpstr>Smart thumbnail </vt:lpstr>
      <vt:lpstr>PowerPoint Presentation</vt:lpstr>
      <vt:lpstr>Recognize emotions Detect emotions based on facial expressions  in photos and videos</vt:lpstr>
      <vt:lpstr>Emotion APIs</vt:lpstr>
      <vt:lpstr>PowerPoint Presentation</vt:lpstr>
      <vt:lpstr>Face APIs</vt:lpstr>
      <vt:lpstr>PowerPoint Presentation</vt:lpstr>
      <vt:lpstr>PowerPoint Presentation</vt:lpstr>
      <vt:lpstr>Stabilization</vt:lpstr>
      <vt:lpstr>Face detection and tracking</vt:lpstr>
      <vt:lpstr>Motion detection</vt:lpstr>
      <vt:lpstr>PowerPoint Presentation</vt:lpstr>
      <vt:lpstr>PowerPoint Presentation</vt:lpstr>
      <vt:lpstr>Voice recognition</vt:lpstr>
      <vt:lpstr>Voice recognition</vt:lpstr>
      <vt:lpstr>Voice output</vt:lpstr>
      <vt:lpstr>PowerPoint Presentation</vt:lpstr>
      <vt:lpstr>PowerPoint Presentation</vt:lpstr>
      <vt:lpstr>Speaker recognition APIs</vt:lpstr>
      <vt:lpstr>PowerPoint Presentation</vt:lpstr>
      <vt:lpstr>PowerPoint Presentation</vt:lpstr>
      <vt:lpstr>Azure Commerce Channels Summary for India DC deploy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April Yang(楊姿慧)</dc:creator>
  <cp:lastModifiedBy>Ashish Sahu</cp:lastModifiedBy>
  <cp:revision>324</cp:revision>
  <cp:lastPrinted>2016-03-23T12:35:10Z</cp:lastPrinted>
  <dcterms:created xsi:type="dcterms:W3CDTF">2015-11-27T11:22:06Z</dcterms:created>
  <dcterms:modified xsi:type="dcterms:W3CDTF">2017-01-26T16:3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75BEF4C423C247B83248626F82C0C0</vt:lpwstr>
  </property>
</Properties>
</file>